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6" r:id="rId3"/>
    <p:sldMasterId id="2147483918" r:id="rId4"/>
  </p:sldMasterIdLst>
  <p:sldIdLst>
    <p:sldId id="257" r:id="rId5"/>
    <p:sldId id="873" r:id="rId6"/>
    <p:sldId id="876" r:id="rId7"/>
    <p:sldId id="266" r:id="rId8"/>
    <p:sldId id="604" r:id="rId9"/>
    <p:sldId id="259" r:id="rId10"/>
    <p:sldId id="928" r:id="rId11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1B17DF-69FA-499F-B2D6-2E0A765E3DDB}" v="13" dt="2024-05-28T21:23:58.412"/>
    <p1510:client id="{E9C34659-1461-44E7-AB61-F6EE4B311DB7}" v="5" dt="2024-05-28T21:28:07.1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82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7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5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7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2D4E6-4DD8-1DA6-BBF3-E47910150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130B1B-92DE-EE7A-842C-3B24327688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05F61C-7E1A-3EEC-CE26-53D626FC49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83B21C-2522-6849-67C4-31986B4BC5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ACE232-48FF-4202-A21E-AAD2ACC66018}" type="datetimeFigureOut">
              <a:rPr lang="cs-CZ" smtClean="0"/>
              <a:t>11.06.2024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EC221E-2270-42C1-5211-B364EC08B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53894E-4A86-3A1F-E3FD-647F45823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A902482-2F49-4232-9D7B-5A008A9252B9}" type="slidenum">
              <a:rPr lang="cs-CZ" smtClean="0"/>
              <a:t>‹#›</a:t>
            </a:fld>
            <a:endParaRPr lang="cs-CZ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5B0E69D-5EF8-B126-5D5F-827C399039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97326FF0-20C5-5D93-CC5A-93901484DF17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306191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5758E4-8302-11A6-F70A-862D58BB8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C51135-6FF0-BAE4-B53A-7D1E4C45DC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ACE232-48FF-4202-A21E-AAD2ACC66018}" type="datetimeFigureOut">
              <a:rPr lang="cs-CZ" smtClean="0"/>
              <a:t>11.06.2024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F376E6-DE8C-3D08-178F-FA1E0728E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CBD369-67FB-9A0D-40B4-17C2F6034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02482-2F49-4232-9D7B-5A008A9252B9}" type="slidenum">
              <a:rPr lang="cs-CZ" smtClean="0"/>
              <a:t>‹#›</a:t>
            </a:fld>
            <a:endParaRPr lang="cs-CZ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0C81A56-D8D4-4B2F-4C06-AC3C945633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806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2D4E6-4DD8-1DA6-BBF3-E47910150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130B1B-92DE-EE7A-842C-3B24327688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05F61C-7E1A-3EEC-CE26-53D626FC49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83B21C-2522-6849-67C4-31986B4BC5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ACE232-48FF-4202-A21E-AAD2ACC66018}" type="datetimeFigureOut">
              <a:rPr lang="cs-CZ" smtClean="0"/>
              <a:t>11.06.2024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EC221E-2270-42C1-5211-B364EC08B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53894E-4A86-3A1F-E3FD-647F45823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02482-2F49-4232-9D7B-5A008A9252B9}" type="slidenum">
              <a:rPr lang="cs-CZ" smtClean="0"/>
              <a:t>‹#›</a:t>
            </a:fld>
            <a:endParaRPr lang="cs-CZ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5B0E69D-5EF8-B126-5D5F-827C399039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E69AE67F-3E3A-36B0-34E2-54751E2025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ABF0160F-FF6D-4340-E8D0-F9E728AE4B2C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59918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2D4E6-4DD8-1DA6-BBF3-E47910150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130B1B-92DE-EE7A-842C-3B24327688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05F61C-7E1A-3EEC-CE26-53D626FC49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83B21C-2522-6849-67C4-31986B4BC5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ACE232-48FF-4202-A21E-AAD2ACC66018}" type="datetimeFigureOut">
              <a:rPr lang="cs-CZ" smtClean="0"/>
              <a:t>11.06.2024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EC221E-2270-42C1-5211-B364EC08B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53894E-4A86-3A1F-E3FD-647F45823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02482-2F49-4232-9D7B-5A008A9252B9}" type="slidenum">
              <a:rPr lang="cs-CZ" smtClean="0"/>
              <a:t>‹#›</a:t>
            </a:fld>
            <a:endParaRPr lang="cs-CZ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5B0E69D-5EF8-B126-5D5F-827C399039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E69AE67F-3E3A-36B0-34E2-54751E2025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278C04D-167E-4EFD-30DE-4173F66D0763}"/>
              </a:ext>
            </a:extLst>
          </p:cNvPr>
          <p:cNvSpPr txBox="1">
            <a:spLocks/>
          </p:cNvSpPr>
          <p:nvPr userDrawn="1"/>
        </p:nvSpPr>
        <p:spPr>
          <a:xfrm>
            <a:off x="2564892" y="4577969"/>
            <a:ext cx="7062216" cy="854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Gotham Bold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/>
              <a:t>Click to edit Master title style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A7ED1766-A0AE-184D-BF1E-909A34E26E16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254233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ACFE61EA-CFC4-9C39-6501-C56DE2A250E2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3767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33413" y="1700339"/>
            <a:ext cx="10931525" cy="1844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ACFE61EA-CFC4-9C39-6501-C56DE2A250E2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8822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33413" y="1700339"/>
            <a:ext cx="5240084" cy="223240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854E85C-21CC-2B23-EAE4-B2A759AE3C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8504" y="1733422"/>
            <a:ext cx="5232845" cy="223240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A8456DEA-38B1-6335-B00B-899F5E918B2F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086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592221C5-6BC9-8443-E08B-6AF0FC68E4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5999" y="1709927"/>
            <a:ext cx="5455349" cy="4251707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FF88C1D-5B9F-0C80-AD82-4F90B762DB6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33413" y="1709926"/>
            <a:ext cx="5218747" cy="4251707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F62F030-65A6-475B-6EAC-FFEDF7F96F5C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4736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A3ABCB3-4FF4-4F94-ADEB-8065C2E4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30179E52-9A82-2EEB-DF04-CBE2AF4A6AA1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33413" y="1709926"/>
            <a:ext cx="10917936" cy="4251707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05207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33C856-787D-86B2-59E7-22A64788BD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58B667-EF70-2463-8820-09B3C36483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81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127448" y="2084387"/>
            <a:ext cx="10225136" cy="22990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3784" y="476672"/>
            <a:ext cx="10212425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Gotham Bold" pitchFamily="2" charset="0"/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18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2D4E6-4DD8-1DA6-BBF3-E47910150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130B1B-92DE-EE7A-842C-3B24327688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05F61C-7E1A-3EEC-CE26-53D626FC49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83B21C-2522-6849-67C4-31986B4BC5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ACE232-48FF-4202-A21E-AAD2ACC66018}" type="datetimeFigureOut">
              <a:rPr lang="cs-CZ" smtClean="0"/>
              <a:t>11.06.2024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EC221E-2270-42C1-5211-B364EC08B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53894E-4A86-3A1F-E3FD-647F45823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A902482-2F49-4232-9D7B-5A008A9252B9}" type="slidenum">
              <a:rPr lang="cs-CZ" smtClean="0"/>
              <a:t>‹#›</a:t>
            </a:fld>
            <a:endParaRPr lang="cs-CZ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5B0E69D-5EF8-B126-5D5F-827C399039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A0E2BDA-DF04-14C0-8E32-264884A92091}"/>
              </a:ext>
            </a:extLst>
          </p:cNvPr>
          <p:cNvSpPr txBox="1">
            <a:spLocks/>
          </p:cNvSpPr>
          <p:nvPr userDrawn="1"/>
        </p:nvSpPr>
        <p:spPr>
          <a:xfrm>
            <a:off x="2564892" y="4577969"/>
            <a:ext cx="7062216" cy="854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Gotham Bold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>
                <a:solidFill>
                  <a:schemeClr val="tx1"/>
                </a:solidFill>
              </a:rPr>
              <a:t>Click to edit Master title style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9E76EFB2-96E0-4EEE-AAF1-0803DABADCF1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34852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11AFF01B-7536-BFA0-4112-BDAECF4E401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520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1" baseline="0">
              <a:solidFill>
                <a:schemeClr val="bg1"/>
              </a:solidFill>
              <a:latin typeface="BebasNeueRegular" panose="020B0606020202050201" pitchFamily="34" charset="0"/>
              <a:ea typeface="+mj-ea"/>
              <a:cs typeface="+mj-cs"/>
              <a:sym typeface="BebasNeueRegular" panose="020B0606020202050201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E701C75-EC84-9EBD-5561-D356555D2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7" y="4941168"/>
            <a:ext cx="9793086" cy="512448"/>
          </a:xfrm>
          <a:prstGeom prst="rect">
            <a:avLst/>
          </a:prstGeom>
        </p:spPr>
        <p:txBody>
          <a:bodyPr/>
          <a:lstStyle>
            <a:lvl1pPr algn="ctr">
              <a:defRPr sz="3600">
                <a:solidFill>
                  <a:schemeClr val="tx1"/>
                </a:solidFill>
                <a:latin typeface="Gotham Bold" pitchFamily="2" charset="0"/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15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520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1" baseline="0">
              <a:solidFill>
                <a:schemeClr val="bg1"/>
              </a:solidFill>
              <a:latin typeface="BebasNeueRegular" panose="020B0606020202050201" pitchFamily="34" charset="0"/>
              <a:ea typeface="+mj-ea"/>
              <a:cs typeface="+mj-cs"/>
              <a:sym typeface="BebasNeueRegular" panose="020B0606020202050201" pitchFamily="34" charset="0"/>
            </a:endParaRP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009F7548-444D-E46A-C903-45A13276F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336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33C902F8-508E-16AF-0025-17609D0FB8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520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1" baseline="0">
              <a:solidFill>
                <a:schemeClr val="bg1"/>
              </a:solidFill>
              <a:latin typeface="BebasNeueRegular" panose="020B0606020202050201" pitchFamily="34" charset="0"/>
              <a:ea typeface="+mj-ea"/>
              <a:cs typeface="+mj-cs"/>
              <a:sym typeface="BebasNeueRegular" panose="020B0606020202050201" pitchFamily="34" charset="0"/>
            </a:endParaRP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48F378F4-7530-A8A7-BD78-06EF9AC2E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1584" y="3079760"/>
            <a:ext cx="7627312" cy="976304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bg1"/>
                </a:solidFill>
                <a:latin typeface="Gotham Bold" pitchFamily="2" charset="0"/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95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921DD43D-0E3C-827D-125A-7634BF5E39A8}"/>
              </a:ext>
            </a:extLst>
          </p:cNvPr>
          <p:cNvSpPr txBox="1">
            <a:spLocks/>
          </p:cNvSpPr>
          <p:nvPr userDrawn="1"/>
        </p:nvSpPr>
        <p:spPr>
          <a:xfrm>
            <a:off x="2351584" y="3079760"/>
            <a:ext cx="7627312" cy="9763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Gotham Bold" pitchFamily="2" charset="0"/>
                <a:ea typeface="+mj-ea"/>
                <a:cs typeface="+mj-cs"/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8F61EF1-05CF-7509-F54C-9749E8665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5191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921DD43D-0E3C-827D-125A-7634BF5E39A8}"/>
              </a:ext>
            </a:extLst>
          </p:cNvPr>
          <p:cNvSpPr txBox="1">
            <a:spLocks/>
          </p:cNvSpPr>
          <p:nvPr userDrawn="1"/>
        </p:nvSpPr>
        <p:spPr>
          <a:xfrm>
            <a:off x="2351584" y="3079760"/>
            <a:ext cx="7627312" cy="9763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Gotham Bold" pitchFamily="2" charset="0"/>
                <a:ea typeface="+mj-ea"/>
                <a:cs typeface="+mj-cs"/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C2F2891-1908-DD74-C76D-62F26AF307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413" y="1700339"/>
            <a:ext cx="10931525" cy="1844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8F61EF1-05CF-7509-F54C-9749E8665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561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921DD43D-0E3C-827D-125A-7634BF5E39A8}"/>
              </a:ext>
            </a:extLst>
          </p:cNvPr>
          <p:cNvSpPr txBox="1">
            <a:spLocks/>
          </p:cNvSpPr>
          <p:nvPr userDrawn="1"/>
        </p:nvSpPr>
        <p:spPr>
          <a:xfrm>
            <a:off x="2351584" y="3079760"/>
            <a:ext cx="7627312" cy="9763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Gotham Bold" pitchFamily="2" charset="0"/>
                <a:ea typeface="+mj-ea"/>
                <a:cs typeface="+mj-cs"/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5602913-18D8-7008-FF0C-4A83D702BA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413" y="1700339"/>
            <a:ext cx="5240084" cy="223240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519D06B-B7A9-F634-CB1B-C90BBA2A0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1824F1E-3453-20DF-0EF8-40E3883F2F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8504" y="1733422"/>
            <a:ext cx="5232845" cy="223240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070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921DD43D-0E3C-827D-125A-7634BF5E39A8}"/>
              </a:ext>
            </a:extLst>
          </p:cNvPr>
          <p:cNvSpPr txBox="1">
            <a:spLocks/>
          </p:cNvSpPr>
          <p:nvPr userDrawn="1"/>
        </p:nvSpPr>
        <p:spPr>
          <a:xfrm>
            <a:off x="2351584" y="3079760"/>
            <a:ext cx="7627312" cy="9763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Gotham Bold" pitchFamily="2" charset="0"/>
                <a:ea typeface="+mj-ea"/>
                <a:cs typeface="+mj-cs"/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519D06B-B7A9-F634-CB1B-C90BBA2A0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8AEF066-9413-85FD-9942-06F6C8B4C3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5999" y="1709927"/>
            <a:ext cx="5455349" cy="42517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B990346-648D-F484-D66B-3853D47E4AD3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33413" y="1709926"/>
            <a:ext cx="5218747" cy="42517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64380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921DD43D-0E3C-827D-125A-7634BF5E39A8}"/>
              </a:ext>
            </a:extLst>
          </p:cNvPr>
          <p:cNvSpPr txBox="1">
            <a:spLocks/>
          </p:cNvSpPr>
          <p:nvPr userDrawn="1"/>
        </p:nvSpPr>
        <p:spPr>
          <a:xfrm>
            <a:off x="2351584" y="3079760"/>
            <a:ext cx="7627312" cy="9763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Gotham Bold" pitchFamily="2" charset="0"/>
                <a:ea typeface="+mj-ea"/>
                <a:cs typeface="+mj-cs"/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519D06B-B7A9-F634-CB1B-C90BBA2A0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4FD6071-5657-5C21-8AD5-BEB88400FA59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33413" y="1709926"/>
            <a:ext cx="10917936" cy="42517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145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127448" y="2084387"/>
            <a:ext cx="10225136" cy="22990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3784" y="476672"/>
            <a:ext cx="10212425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Gotham Bold" pitchFamily="2" charset="0"/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44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413" y="586265"/>
            <a:ext cx="10917936" cy="854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otham Bold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ACFE61EA-CFC4-9C39-6501-C56DE2A250E2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32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6.sv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0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2.xml"/><Relationship Id="rId12" Type="http://schemas.openxmlformats.org/officeDocument/2006/relationships/image" Target="../media/image14.sv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1.xml"/><Relationship Id="rId11" Type="http://schemas.openxmlformats.org/officeDocument/2006/relationships/image" Target="../media/image13.png"/><Relationship Id="rId5" Type="http://schemas.openxmlformats.org/officeDocument/2006/relationships/theme" Target="../theme/theme4.xml"/><Relationship Id="rId10" Type="http://schemas.openxmlformats.org/officeDocument/2006/relationships/image" Target="../media/image12.emf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1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3DC0576E-A973-A406-E938-7BED41DAB71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99305F-2422-A591-AA86-285B40FFB345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1216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93" r:id="rId2"/>
    <p:sldLayoutId id="2147483694" r:id="rId3"/>
    <p:sldLayoutId id="2147483680" r:id="rId4"/>
    <p:sldLayoutId id="2147483696" r:id="rId5"/>
    <p:sldLayoutId id="2147483697" r:id="rId6"/>
    <p:sldLayoutId id="2147483698" r:id="rId7"/>
    <p:sldLayoutId id="2147483923" r:id="rId8"/>
    <p:sldLayoutId id="2147483924" r:id="rId9"/>
    <p:sldLayoutId id="2147483925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798C65C-A343-9D85-2921-CDBE01D12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5FE82F-A8AB-112B-2F2E-FCA1993770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FD0CB9-ADAF-B9D5-7312-2717971996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ACE232-48FF-4202-A21E-AAD2ACC66018}" type="datetimeFigureOut">
              <a:rPr lang="cs-CZ" smtClean="0"/>
              <a:t>11.06.2024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26E74-8359-D6CA-1DBB-EE58A24278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EAA306-8795-6906-AB8D-EB5579566B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902482-2F49-4232-9D7B-5A008A9252B9}" type="slidenum">
              <a:rPr lang="cs-CZ" smtClean="0"/>
              <a:t>‹#›</a:t>
            </a:fld>
            <a:endParaRPr lang="cs-CZ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DC0576E-A973-A406-E938-7BED41DAB71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4AEE385-4CBC-488B-C989-3FE21142378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BE580C-631B-A172-46ED-21588A889F06}"/>
              </a:ext>
            </a:extLst>
          </p:cNvPr>
          <p:cNvSpPr txBox="1">
            <a:spLocks/>
          </p:cNvSpPr>
          <p:nvPr userDrawn="1"/>
        </p:nvSpPr>
        <p:spPr>
          <a:xfrm>
            <a:off x="9247632" y="62198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2343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3" r:id="rId2"/>
    <p:sldLayoutId id="2147483681" r:id="rId3"/>
    <p:sldLayoutId id="2147483695" r:id="rId4"/>
    <p:sldLayoutId id="2147483684" r:id="rId5"/>
    <p:sldLayoutId id="2147483682" r:id="rId6"/>
    <p:sldLayoutId id="214748367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7E43F7F-A92C-5D21-BBBA-9C272FDF04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10ABFF8F-C3B9-95DF-4227-E417F20174A4}"/>
              </a:ext>
            </a:extLst>
          </p:cNvPr>
          <p:cNvSpPr txBox="1">
            <a:spLocks/>
          </p:cNvSpPr>
          <p:nvPr userDrawn="1"/>
        </p:nvSpPr>
        <p:spPr>
          <a:xfrm>
            <a:off x="2351584" y="3079760"/>
            <a:ext cx="7627312" cy="9763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Gotham Bold" pitchFamily="2" charset="0"/>
                <a:ea typeface="+mj-ea"/>
                <a:cs typeface="+mj-cs"/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BE580C-631B-A172-46ED-21588A889F06}"/>
              </a:ext>
            </a:extLst>
          </p:cNvPr>
          <p:cNvSpPr txBox="1">
            <a:spLocks/>
          </p:cNvSpPr>
          <p:nvPr userDrawn="1"/>
        </p:nvSpPr>
        <p:spPr>
          <a:xfrm>
            <a:off x="9293352" y="636612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A902482-2F49-4232-9D7B-5A008A9252B9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81017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87714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9DE5B2-A78F-42DD-A100-790ECABDC591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Aft>
                <a:spcPts val="1000"/>
              </a:spcAft>
            </a:pPr>
            <a:endParaRPr lang="en-US" sz="6000" b="0" i="0" baseline="0">
              <a:solidFill>
                <a:schemeClr val="bg1"/>
              </a:solidFill>
              <a:latin typeface="BebasNeueRegular" panose="020B0606020202050201" pitchFamily="34" charset="0"/>
              <a:ea typeface="+mj-ea"/>
              <a:cs typeface="+mj-cs"/>
              <a:sym typeface="BebasNeueRegular" panose="020B0606020202050201" pitchFamily="34" charset="0"/>
            </a:endParaRPr>
          </a:p>
        </p:txBody>
      </p:sp>
      <p:pic>
        <p:nvPicPr>
          <p:cNvPr id="4" name="Object 3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10848528" y="6356295"/>
            <a:ext cx="535643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2000" smtClean="0">
                <a:solidFill>
                  <a:schemeClr val="tx1">
                    <a:lumMod val="50000"/>
                    <a:lumOff val="50000"/>
                  </a:schemeClr>
                </a:solidFill>
                <a:latin typeface="BebasNeueRegular" panose="020B0606020202050201" pitchFamily="34" charset="0"/>
              </a:rPr>
              <a:pPr algn="r">
                <a:defRPr/>
              </a:pPr>
              <a:t>‹#›</a:t>
            </a:fld>
            <a:endParaRPr lang="en-US" sz="2000">
              <a:solidFill>
                <a:schemeClr val="tx1">
                  <a:lumMod val="50000"/>
                  <a:lumOff val="50000"/>
                </a:schemeClr>
              </a:solidFill>
              <a:latin typeface="BebasNeueRegular" panose="020B0606020202050201" pitchFamily="34" charset="0"/>
            </a:endParaRP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13FABC3B-894E-65A3-92C5-84FA3ABE058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342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tx2"/>
          </a:solidFill>
          <a:latin typeface="BebasNeueRegular" panose="020B0606020202050201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402336" indent="-283464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800100" indent="-28575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​"/>
        <a:defRPr sz="2800" kern="1200">
          <a:solidFill>
            <a:schemeClr val="tx2"/>
          </a:solidFill>
          <a:latin typeface="Trebuchet MS" panose="020B0603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​"/>
        <a:defRPr sz="2800" b="1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457200" indent="-33972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5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66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8.png"/><Relationship Id="rId11" Type="http://schemas.openxmlformats.org/officeDocument/2006/relationships/image" Target="../media/image32.png"/><Relationship Id="rId5" Type="http://schemas.microsoft.com/office/2007/relationships/hdphoto" Target="../media/hdphoto1.wdp"/><Relationship Id="rId10" Type="http://schemas.openxmlformats.org/officeDocument/2006/relationships/image" Target="../media/image31.png"/><Relationship Id="rId4" Type="http://schemas.openxmlformats.org/officeDocument/2006/relationships/image" Target="../media/image27.png"/><Relationship Id="rId9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5592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69F5D5B-A9B7-03E4-96A1-75C0C67D7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13" y="586265"/>
            <a:ext cx="3913187" cy="854080"/>
          </a:xfrm>
        </p:spPr>
        <p:txBody>
          <a:bodyPr/>
          <a:lstStyle/>
          <a:p>
            <a:r>
              <a:rPr lang="cs-CZ">
                <a:latin typeface="Montserrat" pitchFamily="2" charset="0"/>
              </a:rPr>
              <a:t>O SOUTĚŽI</a:t>
            </a:r>
          </a:p>
        </p:txBody>
      </p:sp>
      <p:pic>
        <p:nvPicPr>
          <p:cNvPr id="39" name="Zástupný symbol obrázku 38" descr="Volant se souvislou výplní">
            <a:extLst>
              <a:ext uri="{FF2B5EF4-FFF2-40B4-BE49-F238E27FC236}">
                <a16:creationId xmlns:a16="http://schemas.microsoft.com/office/drawing/2014/main" id="{3E2D49B7-2670-8ABC-34C7-52D9E670E4A1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1030" b="11030"/>
          <a:stretch>
            <a:fillRect/>
          </a:stretch>
        </p:blipFill>
        <p:spPr>
          <a:xfrm>
            <a:off x="4114486" y="4438744"/>
            <a:ext cx="1280787" cy="998200"/>
          </a:xfrm>
        </p:spPr>
      </p:pic>
      <p:sp>
        <p:nvSpPr>
          <p:cNvPr id="23" name="TextovéPole 22">
            <a:extLst>
              <a:ext uri="{FF2B5EF4-FFF2-40B4-BE49-F238E27FC236}">
                <a16:creationId xmlns:a16="http://schemas.microsoft.com/office/drawing/2014/main" id="{2A4E4955-A94D-E5E9-B510-6FCDDD52EADC}"/>
              </a:ext>
            </a:extLst>
          </p:cNvPr>
          <p:cNvSpPr txBox="1"/>
          <p:nvPr/>
        </p:nvSpPr>
        <p:spPr>
          <a:xfrm>
            <a:off x="901336" y="1569586"/>
            <a:ext cx="477133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>
                <a:latin typeface="Century Gothic" panose="020B0502020202020204" pitchFamily="34" charset="0"/>
              </a:rPr>
              <a:t>Konstrukční soutěž s původem v USA (198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>
                <a:latin typeface="Century Gothic" panose="020B0502020202020204" pitchFamily="34" charset="0"/>
              </a:rPr>
              <a:t>Účastní se více jak 800 univerz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>
                <a:latin typeface="Century Gothic" panose="020B0502020202020204" pitchFamily="34" charset="0"/>
              </a:rPr>
              <a:t>Světově uznávaná, věrně napodobuje inženýrskou prax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>
                <a:latin typeface="Century Gothic" panose="020B0502020202020204" pitchFamily="34" charset="0"/>
              </a:rPr>
              <a:t>Spalovací, elektrická a </a:t>
            </a:r>
            <a:r>
              <a:rPr lang="cs-CZ" err="1">
                <a:latin typeface="Century Gothic" panose="020B0502020202020204" pitchFamily="34" charset="0"/>
              </a:rPr>
              <a:t>driverless</a:t>
            </a:r>
            <a:r>
              <a:rPr lang="cs-CZ">
                <a:latin typeface="Century Gothic" panose="020B0502020202020204" pitchFamily="34" charset="0"/>
              </a:rPr>
              <a:t> kategorie</a:t>
            </a:r>
          </a:p>
        </p:txBody>
      </p:sp>
      <p:grpSp>
        <p:nvGrpSpPr>
          <p:cNvPr id="24" name="bcgBugs_ToolKit">
            <a:extLst>
              <a:ext uri="{FF2B5EF4-FFF2-40B4-BE49-F238E27FC236}">
                <a16:creationId xmlns:a16="http://schemas.microsoft.com/office/drawing/2014/main" id="{895AD4FD-B0E4-A8F5-D33F-34EA0521C2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04889" y="4438744"/>
            <a:ext cx="997224" cy="998200"/>
            <a:chOff x="2818" y="1137"/>
            <a:chExt cx="2044" cy="2046"/>
          </a:xfrm>
        </p:grpSpPr>
        <p:sp>
          <p:nvSpPr>
            <p:cNvPr id="25" name="AutoShape 3">
              <a:extLst>
                <a:ext uri="{FF2B5EF4-FFF2-40B4-BE49-F238E27FC236}">
                  <a16:creationId xmlns:a16="http://schemas.microsoft.com/office/drawing/2014/main" id="{20CD521A-A473-E603-A243-198CA4996CE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71B15A67-85C4-473A-85DA-E3F80D760C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1" y="1276"/>
              <a:ext cx="1825" cy="1727"/>
            </a:xfrm>
            <a:custGeom>
              <a:avLst/>
              <a:gdLst>
                <a:gd name="T0" fmla="*/ 552 w 892"/>
                <a:gd name="T1" fmla="*/ 404 h 843"/>
                <a:gd name="T2" fmla="*/ 525 w 892"/>
                <a:gd name="T3" fmla="*/ 398 h 843"/>
                <a:gd name="T4" fmla="*/ 516 w 892"/>
                <a:gd name="T5" fmla="*/ 368 h 843"/>
                <a:gd name="T6" fmla="*/ 464 w 892"/>
                <a:gd name="T7" fmla="*/ 329 h 843"/>
                <a:gd name="T8" fmla="*/ 409 w 892"/>
                <a:gd name="T9" fmla="*/ 370 h 843"/>
                <a:gd name="T10" fmla="*/ 131 w 892"/>
                <a:gd name="T11" fmla="*/ 93 h 843"/>
                <a:gd name="T12" fmla="*/ 36 w 892"/>
                <a:gd name="T13" fmla="*/ 10 h 843"/>
                <a:gd name="T14" fmla="*/ 18 w 892"/>
                <a:gd name="T15" fmla="*/ 28 h 843"/>
                <a:gd name="T16" fmla="*/ 45 w 892"/>
                <a:gd name="T17" fmla="*/ 135 h 843"/>
                <a:gd name="T18" fmla="*/ 356 w 892"/>
                <a:gd name="T19" fmla="*/ 417 h 843"/>
                <a:gd name="T20" fmla="*/ 329 w 892"/>
                <a:gd name="T21" fmla="*/ 451 h 843"/>
                <a:gd name="T22" fmla="*/ 329 w 892"/>
                <a:gd name="T23" fmla="*/ 497 h 843"/>
                <a:gd name="T24" fmla="*/ 381 w 892"/>
                <a:gd name="T25" fmla="*/ 536 h 843"/>
                <a:gd name="T26" fmla="*/ 387 w 892"/>
                <a:gd name="T27" fmla="*/ 547 h 843"/>
                <a:gd name="T28" fmla="*/ 664 w 892"/>
                <a:gd name="T29" fmla="*/ 832 h 843"/>
                <a:gd name="T30" fmla="*/ 784 w 892"/>
                <a:gd name="T31" fmla="*/ 794 h 843"/>
                <a:gd name="T32" fmla="*/ 697 w 892"/>
                <a:gd name="T33" fmla="*/ 774 h 843"/>
                <a:gd name="T34" fmla="*/ 666 w 892"/>
                <a:gd name="T35" fmla="*/ 774 h 843"/>
                <a:gd name="T36" fmla="*/ 453 w 892"/>
                <a:gd name="T37" fmla="*/ 531 h 843"/>
                <a:gd name="T38" fmla="*/ 697 w 892"/>
                <a:gd name="T39" fmla="*/ 743 h 843"/>
                <a:gd name="T40" fmla="*/ 764 w 892"/>
                <a:gd name="T41" fmla="*/ 707 h 843"/>
                <a:gd name="T42" fmla="*/ 733 w 892"/>
                <a:gd name="T43" fmla="*/ 707 h 843"/>
                <a:gd name="T44" fmla="*/ 521 w 892"/>
                <a:gd name="T45" fmla="*/ 464 h 843"/>
                <a:gd name="T46" fmla="*/ 764 w 892"/>
                <a:gd name="T47" fmla="*/ 676 h 843"/>
                <a:gd name="T48" fmla="*/ 377 w 892"/>
                <a:gd name="T49" fmla="*/ 607 h 843"/>
                <a:gd name="T50" fmla="*/ 90 w 892"/>
                <a:gd name="T51" fmla="*/ 801 h 843"/>
                <a:gd name="T52" fmla="*/ 286 w 892"/>
                <a:gd name="T53" fmla="*/ 513 h 843"/>
                <a:gd name="T54" fmla="*/ 327 w 892"/>
                <a:gd name="T55" fmla="*/ 557 h 843"/>
                <a:gd name="T56" fmla="*/ 350 w 892"/>
                <a:gd name="T57" fmla="*/ 581 h 843"/>
                <a:gd name="T58" fmla="*/ 504 w 892"/>
                <a:gd name="T59" fmla="*/ 295 h 843"/>
                <a:gd name="T60" fmla="*/ 591 w 892"/>
                <a:gd name="T61" fmla="*/ 61 h 843"/>
                <a:gd name="T62" fmla="*/ 698 w 892"/>
                <a:gd name="T63" fmla="*/ 95 h 843"/>
                <a:gd name="T64" fmla="*/ 662 w 892"/>
                <a:gd name="T65" fmla="*/ 230 h 843"/>
                <a:gd name="T66" fmla="*/ 796 w 892"/>
                <a:gd name="T67" fmla="*/ 194 h 843"/>
                <a:gd name="T68" fmla="*/ 831 w 892"/>
                <a:gd name="T69" fmla="*/ 300 h 843"/>
                <a:gd name="T70" fmla="*/ 599 w 892"/>
                <a:gd name="T71" fmla="*/ 385 h 843"/>
                <a:gd name="T72" fmla="*/ 571 w 892"/>
                <a:gd name="T73" fmla="*/ 361 h 843"/>
                <a:gd name="T74" fmla="*/ 547 w 892"/>
                <a:gd name="T75" fmla="*/ 337 h 843"/>
                <a:gd name="T76" fmla="*/ 503 w 892"/>
                <a:gd name="T77" fmla="*/ 296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92" h="843">
                  <a:moveTo>
                    <a:pt x="822" y="674"/>
                  </a:moveTo>
                  <a:cubicBezTo>
                    <a:pt x="552" y="404"/>
                    <a:pt x="552" y="404"/>
                    <a:pt x="552" y="404"/>
                  </a:cubicBezTo>
                  <a:cubicBezTo>
                    <a:pt x="548" y="400"/>
                    <a:pt x="543" y="398"/>
                    <a:pt x="537" y="398"/>
                  </a:cubicBezTo>
                  <a:cubicBezTo>
                    <a:pt x="525" y="398"/>
                    <a:pt x="525" y="398"/>
                    <a:pt x="525" y="398"/>
                  </a:cubicBezTo>
                  <a:cubicBezTo>
                    <a:pt x="525" y="396"/>
                    <a:pt x="526" y="394"/>
                    <a:pt x="526" y="391"/>
                  </a:cubicBezTo>
                  <a:cubicBezTo>
                    <a:pt x="526" y="383"/>
                    <a:pt x="522" y="375"/>
                    <a:pt x="516" y="368"/>
                  </a:cubicBezTo>
                  <a:cubicBezTo>
                    <a:pt x="487" y="339"/>
                    <a:pt x="487" y="339"/>
                    <a:pt x="487" y="339"/>
                  </a:cubicBezTo>
                  <a:cubicBezTo>
                    <a:pt x="480" y="333"/>
                    <a:pt x="472" y="329"/>
                    <a:pt x="464" y="329"/>
                  </a:cubicBezTo>
                  <a:cubicBezTo>
                    <a:pt x="455" y="329"/>
                    <a:pt x="447" y="333"/>
                    <a:pt x="441" y="339"/>
                  </a:cubicBezTo>
                  <a:cubicBezTo>
                    <a:pt x="409" y="370"/>
                    <a:pt x="409" y="370"/>
                    <a:pt x="409" y="370"/>
                  </a:cubicBezTo>
                  <a:cubicBezTo>
                    <a:pt x="409" y="370"/>
                    <a:pt x="408" y="369"/>
                    <a:pt x="407" y="368"/>
                  </a:cubicBezTo>
                  <a:cubicBezTo>
                    <a:pt x="131" y="93"/>
                    <a:pt x="131" y="93"/>
                    <a:pt x="131" y="93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79" y="141"/>
                    <a:pt x="79" y="141"/>
                    <a:pt x="79" y="141"/>
                  </a:cubicBezTo>
                  <a:cubicBezTo>
                    <a:pt x="356" y="417"/>
                    <a:pt x="356" y="417"/>
                    <a:pt x="356" y="417"/>
                  </a:cubicBezTo>
                  <a:cubicBezTo>
                    <a:pt x="357" y="418"/>
                    <a:pt x="358" y="419"/>
                    <a:pt x="359" y="420"/>
                  </a:cubicBezTo>
                  <a:cubicBezTo>
                    <a:pt x="329" y="451"/>
                    <a:pt x="329" y="451"/>
                    <a:pt x="329" y="451"/>
                  </a:cubicBezTo>
                  <a:cubicBezTo>
                    <a:pt x="322" y="457"/>
                    <a:pt x="319" y="465"/>
                    <a:pt x="319" y="474"/>
                  </a:cubicBezTo>
                  <a:cubicBezTo>
                    <a:pt x="319" y="482"/>
                    <a:pt x="322" y="491"/>
                    <a:pt x="329" y="497"/>
                  </a:cubicBezTo>
                  <a:cubicBezTo>
                    <a:pt x="358" y="526"/>
                    <a:pt x="358" y="526"/>
                    <a:pt x="358" y="526"/>
                  </a:cubicBezTo>
                  <a:cubicBezTo>
                    <a:pt x="365" y="533"/>
                    <a:pt x="373" y="536"/>
                    <a:pt x="381" y="536"/>
                  </a:cubicBezTo>
                  <a:cubicBezTo>
                    <a:pt x="383" y="536"/>
                    <a:pt x="385" y="536"/>
                    <a:pt x="387" y="535"/>
                  </a:cubicBezTo>
                  <a:cubicBezTo>
                    <a:pt x="387" y="547"/>
                    <a:pt x="387" y="547"/>
                    <a:pt x="387" y="547"/>
                  </a:cubicBezTo>
                  <a:cubicBezTo>
                    <a:pt x="388" y="553"/>
                    <a:pt x="390" y="558"/>
                    <a:pt x="394" y="562"/>
                  </a:cubicBezTo>
                  <a:cubicBezTo>
                    <a:pt x="664" y="832"/>
                    <a:pt x="664" y="832"/>
                    <a:pt x="664" y="832"/>
                  </a:cubicBezTo>
                  <a:cubicBezTo>
                    <a:pt x="672" y="840"/>
                    <a:pt x="682" y="843"/>
                    <a:pt x="693" y="843"/>
                  </a:cubicBezTo>
                  <a:cubicBezTo>
                    <a:pt x="721" y="843"/>
                    <a:pt x="756" y="821"/>
                    <a:pt x="784" y="794"/>
                  </a:cubicBezTo>
                  <a:cubicBezTo>
                    <a:pt x="822" y="756"/>
                    <a:pt x="850" y="702"/>
                    <a:pt x="822" y="674"/>
                  </a:cubicBezTo>
                  <a:close/>
                  <a:moveTo>
                    <a:pt x="697" y="774"/>
                  </a:moveTo>
                  <a:cubicBezTo>
                    <a:pt x="693" y="779"/>
                    <a:pt x="687" y="781"/>
                    <a:pt x="682" y="781"/>
                  </a:cubicBezTo>
                  <a:cubicBezTo>
                    <a:pt x="676" y="781"/>
                    <a:pt x="670" y="779"/>
                    <a:pt x="666" y="774"/>
                  </a:cubicBezTo>
                  <a:cubicBezTo>
                    <a:pt x="453" y="562"/>
                    <a:pt x="453" y="562"/>
                    <a:pt x="453" y="562"/>
                  </a:cubicBezTo>
                  <a:cubicBezTo>
                    <a:pt x="445" y="553"/>
                    <a:pt x="445" y="539"/>
                    <a:pt x="453" y="531"/>
                  </a:cubicBezTo>
                  <a:cubicBezTo>
                    <a:pt x="462" y="522"/>
                    <a:pt x="476" y="522"/>
                    <a:pt x="485" y="531"/>
                  </a:cubicBezTo>
                  <a:cubicBezTo>
                    <a:pt x="697" y="743"/>
                    <a:pt x="697" y="743"/>
                    <a:pt x="697" y="743"/>
                  </a:cubicBezTo>
                  <a:cubicBezTo>
                    <a:pt x="706" y="752"/>
                    <a:pt x="706" y="766"/>
                    <a:pt x="697" y="774"/>
                  </a:cubicBezTo>
                  <a:close/>
                  <a:moveTo>
                    <a:pt x="764" y="707"/>
                  </a:moveTo>
                  <a:cubicBezTo>
                    <a:pt x="760" y="712"/>
                    <a:pt x="754" y="714"/>
                    <a:pt x="749" y="714"/>
                  </a:cubicBezTo>
                  <a:cubicBezTo>
                    <a:pt x="743" y="714"/>
                    <a:pt x="737" y="712"/>
                    <a:pt x="733" y="707"/>
                  </a:cubicBezTo>
                  <a:cubicBezTo>
                    <a:pt x="521" y="495"/>
                    <a:pt x="521" y="495"/>
                    <a:pt x="521" y="495"/>
                  </a:cubicBezTo>
                  <a:cubicBezTo>
                    <a:pt x="512" y="486"/>
                    <a:pt x="512" y="472"/>
                    <a:pt x="521" y="464"/>
                  </a:cubicBezTo>
                  <a:cubicBezTo>
                    <a:pt x="529" y="455"/>
                    <a:pt x="543" y="455"/>
                    <a:pt x="552" y="464"/>
                  </a:cubicBezTo>
                  <a:cubicBezTo>
                    <a:pt x="764" y="676"/>
                    <a:pt x="764" y="676"/>
                    <a:pt x="764" y="676"/>
                  </a:cubicBezTo>
                  <a:cubicBezTo>
                    <a:pt x="773" y="685"/>
                    <a:pt x="773" y="699"/>
                    <a:pt x="764" y="707"/>
                  </a:cubicBezTo>
                  <a:close/>
                  <a:moveTo>
                    <a:pt x="377" y="607"/>
                  </a:moveTo>
                  <a:cubicBezTo>
                    <a:pt x="184" y="799"/>
                    <a:pt x="184" y="799"/>
                    <a:pt x="184" y="799"/>
                  </a:cubicBezTo>
                  <a:cubicBezTo>
                    <a:pt x="158" y="826"/>
                    <a:pt x="116" y="827"/>
                    <a:pt x="90" y="801"/>
                  </a:cubicBezTo>
                  <a:cubicBezTo>
                    <a:pt x="65" y="776"/>
                    <a:pt x="66" y="734"/>
                    <a:pt x="93" y="707"/>
                  </a:cubicBezTo>
                  <a:cubicBezTo>
                    <a:pt x="286" y="513"/>
                    <a:pt x="286" y="513"/>
                    <a:pt x="286" y="513"/>
                  </a:cubicBezTo>
                  <a:cubicBezTo>
                    <a:pt x="289" y="519"/>
                    <a:pt x="293" y="523"/>
                    <a:pt x="297" y="528"/>
                  </a:cubicBezTo>
                  <a:cubicBezTo>
                    <a:pt x="327" y="557"/>
                    <a:pt x="327" y="557"/>
                    <a:pt x="327" y="557"/>
                  </a:cubicBezTo>
                  <a:cubicBezTo>
                    <a:pt x="332" y="563"/>
                    <a:pt x="338" y="567"/>
                    <a:pt x="345" y="571"/>
                  </a:cubicBezTo>
                  <a:cubicBezTo>
                    <a:pt x="346" y="574"/>
                    <a:pt x="348" y="578"/>
                    <a:pt x="350" y="581"/>
                  </a:cubicBezTo>
                  <a:lnTo>
                    <a:pt x="377" y="607"/>
                  </a:lnTo>
                  <a:close/>
                  <a:moveTo>
                    <a:pt x="504" y="295"/>
                  </a:moveTo>
                  <a:cubicBezTo>
                    <a:pt x="555" y="245"/>
                    <a:pt x="555" y="245"/>
                    <a:pt x="555" y="245"/>
                  </a:cubicBezTo>
                  <a:cubicBezTo>
                    <a:pt x="529" y="184"/>
                    <a:pt x="542" y="111"/>
                    <a:pt x="591" y="61"/>
                  </a:cubicBezTo>
                  <a:cubicBezTo>
                    <a:pt x="640" y="13"/>
                    <a:pt x="710" y="0"/>
                    <a:pt x="771" y="22"/>
                  </a:cubicBezTo>
                  <a:cubicBezTo>
                    <a:pt x="698" y="95"/>
                    <a:pt x="698" y="95"/>
                    <a:pt x="698" y="95"/>
                  </a:cubicBezTo>
                  <a:cubicBezTo>
                    <a:pt x="641" y="152"/>
                    <a:pt x="641" y="152"/>
                    <a:pt x="641" y="152"/>
                  </a:cubicBezTo>
                  <a:cubicBezTo>
                    <a:pt x="662" y="230"/>
                    <a:pt x="662" y="230"/>
                    <a:pt x="662" y="230"/>
                  </a:cubicBezTo>
                  <a:cubicBezTo>
                    <a:pt x="739" y="250"/>
                    <a:pt x="739" y="250"/>
                    <a:pt x="739" y="250"/>
                  </a:cubicBezTo>
                  <a:cubicBezTo>
                    <a:pt x="796" y="194"/>
                    <a:pt x="796" y="194"/>
                    <a:pt x="796" y="194"/>
                  </a:cubicBezTo>
                  <a:cubicBezTo>
                    <a:pt x="869" y="121"/>
                    <a:pt x="869" y="121"/>
                    <a:pt x="869" y="121"/>
                  </a:cubicBezTo>
                  <a:cubicBezTo>
                    <a:pt x="892" y="181"/>
                    <a:pt x="879" y="252"/>
                    <a:pt x="831" y="300"/>
                  </a:cubicBezTo>
                  <a:cubicBezTo>
                    <a:pt x="781" y="350"/>
                    <a:pt x="708" y="362"/>
                    <a:pt x="646" y="337"/>
                  </a:cubicBezTo>
                  <a:cubicBezTo>
                    <a:pt x="599" y="385"/>
                    <a:pt x="599" y="385"/>
                    <a:pt x="599" y="385"/>
                  </a:cubicBezTo>
                  <a:cubicBezTo>
                    <a:pt x="597" y="387"/>
                    <a:pt x="597" y="387"/>
                    <a:pt x="597" y="387"/>
                  </a:cubicBezTo>
                  <a:cubicBezTo>
                    <a:pt x="571" y="361"/>
                    <a:pt x="571" y="361"/>
                    <a:pt x="571" y="361"/>
                  </a:cubicBezTo>
                  <a:cubicBezTo>
                    <a:pt x="568" y="358"/>
                    <a:pt x="564" y="356"/>
                    <a:pt x="560" y="355"/>
                  </a:cubicBezTo>
                  <a:cubicBezTo>
                    <a:pt x="557" y="348"/>
                    <a:pt x="553" y="343"/>
                    <a:pt x="547" y="337"/>
                  </a:cubicBezTo>
                  <a:cubicBezTo>
                    <a:pt x="518" y="308"/>
                    <a:pt x="518" y="308"/>
                    <a:pt x="518" y="308"/>
                  </a:cubicBezTo>
                  <a:cubicBezTo>
                    <a:pt x="513" y="303"/>
                    <a:pt x="508" y="300"/>
                    <a:pt x="503" y="296"/>
                  </a:cubicBezTo>
                  <a:lnTo>
                    <a:pt x="504" y="295"/>
                  </a:lnTo>
                  <a:close/>
                </a:path>
              </a:pathLst>
            </a:custGeom>
            <a:solidFill>
              <a:srgbClr val="329E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grpSp>
        <p:nvGrpSpPr>
          <p:cNvPr id="27" name="bcgIcons_DesignTools">
            <a:extLst>
              <a:ext uri="{FF2B5EF4-FFF2-40B4-BE49-F238E27FC236}">
                <a16:creationId xmlns:a16="http://schemas.microsoft.com/office/drawing/2014/main" id="{B3590F35-B0A3-9281-4289-4EE87A02943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2331" y="4202917"/>
            <a:ext cx="1398372" cy="1399668"/>
            <a:chOff x="1682" y="0"/>
            <a:chExt cx="4316" cy="4320"/>
          </a:xfrm>
        </p:grpSpPr>
        <p:sp>
          <p:nvSpPr>
            <p:cNvPr id="28" name="AutoShape 23">
              <a:extLst>
                <a:ext uri="{FF2B5EF4-FFF2-40B4-BE49-F238E27FC236}">
                  <a16:creationId xmlns:a16="http://schemas.microsoft.com/office/drawing/2014/main" id="{CFC0F650-4DD9-89CA-B193-0220837FA19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F7A059E3-5A72-1974-C088-449A533C01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" y="656"/>
              <a:ext cx="2421" cy="3056"/>
            </a:xfrm>
            <a:custGeom>
              <a:avLst/>
              <a:gdLst>
                <a:gd name="T0" fmla="*/ 207 w 1292"/>
                <a:gd name="T1" fmla="*/ 1033 h 1630"/>
                <a:gd name="T2" fmla="*/ 129 w 1292"/>
                <a:gd name="T3" fmla="*/ 1295 h 1630"/>
                <a:gd name="T4" fmla="*/ 129 w 1292"/>
                <a:gd name="T5" fmla="*/ 780 h 1630"/>
                <a:gd name="T6" fmla="*/ 1118 w 1292"/>
                <a:gd name="T7" fmla="*/ 1266 h 1630"/>
                <a:gd name="T8" fmla="*/ 1233 w 1292"/>
                <a:gd name="T9" fmla="*/ 1586 h 1630"/>
                <a:gd name="T10" fmla="*/ 474 w 1292"/>
                <a:gd name="T11" fmla="*/ 115 h 1630"/>
                <a:gd name="T12" fmla="*/ 880 w 1292"/>
                <a:gd name="T13" fmla="*/ 806 h 1630"/>
                <a:gd name="T14" fmla="*/ 447 w 1292"/>
                <a:gd name="T15" fmla="*/ 3 h 1630"/>
                <a:gd name="T16" fmla="*/ 430 w 1292"/>
                <a:gd name="T17" fmla="*/ 1608 h 1630"/>
                <a:gd name="T18" fmla="*/ 1269 w 1292"/>
                <a:gd name="T19" fmla="*/ 1630 h 1630"/>
                <a:gd name="T20" fmla="*/ 1289 w 1292"/>
                <a:gd name="T21" fmla="*/ 1598 h 1630"/>
                <a:gd name="T22" fmla="*/ 997 w 1292"/>
                <a:gd name="T23" fmla="*/ 1387 h 1630"/>
                <a:gd name="T24" fmla="*/ 886 w 1292"/>
                <a:gd name="T25" fmla="*/ 1266 h 1630"/>
                <a:gd name="T26" fmla="*/ 633 w 1292"/>
                <a:gd name="T27" fmla="*/ 1375 h 1630"/>
                <a:gd name="T28" fmla="*/ 633 w 1292"/>
                <a:gd name="T29" fmla="*/ 806 h 1630"/>
                <a:gd name="T30" fmla="*/ 649 w 1292"/>
                <a:gd name="T31" fmla="*/ 806 h 1630"/>
                <a:gd name="T32" fmla="*/ 631 w 1292"/>
                <a:gd name="T33" fmla="*/ 674 h 1630"/>
                <a:gd name="T34" fmla="*/ 629 w 1292"/>
                <a:gd name="T35" fmla="*/ 671 h 1630"/>
                <a:gd name="T36" fmla="*/ 626 w 1292"/>
                <a:gd name="T37" fmla="*/ 668 h 1630"/>
                <a:gd name="T38" fmla="*/ 620 w 1292"/>
                <a:gd name="T39" fmla="*/ 664 h 1630"/>
                <a:gd name="T40" fmla="*/ 617 w 1292"/>
                <a:gd name="T41" fmla="*/ 663 h 1630"/>
                <a:gd name="T42" fmla="*/ 613 w 1292"/>
                <a:gd name="T43" fmla="*/ 662 h 1630"/>
                <a:gd name="T44" fmla="*/ 611 w 1292"/>
                <a:gd name="T45" fmla="*/ 662 h 1630"/>
                <a:gd name="T46" fmla="*/ 609 w 1292"/>
                <a:gd name="T47" fmla="*/ 662 h 1630"/>
                <a:gd name="T48" fmla="*/ 606 w 1292"/>
                <a:gd name="T49" fmla="*/ 663 h 1630"/>
                <a:gd name="T50" fmla="*/ 602 w 1292"/>
                <a:gd name="T51" fmla="*/ 664 h 1630"/>
                <a:gd name="T52" fmla="*/ 599 w 1292"/>
                <a:gd name="T53" fmla="*/ 666 h 1630"/>
                <a:gd name="T54" fmla="*/ 596 w 1292"/>
                <a:gd name="T55" fmla="*/ 668 h 1630"/>
                <a:gd name="T56" fmla="*/ 594 w 1292"/>
                <a:gd name="T57" fmla="*/ 670 h 1630"/>
                <a:gd name="T58" fmla="*/ 592 w 1292"/>
                <a:gd name="T59" fmla="*/ 674 h 1630"/>
                <a:gd name="T60" fmla="*/ 590 w 1292"/>
                <a:gd name="T61" fmla="*/ 677 h 1630"/>
                <a:gd name="T62" fmla="*/ 589 w 1292"/>
                <a:gd name="T63" fmla="*/ 680 h 1630"/>
                <a:gd name="T64" fmla="*/ 589 w 1292"/>
                <a:gd name="T65" fmla="*/ 684 h 1630"/>
                <a:gd name="T66" fmla="*/ 589 w 1292"/>
                <a:gd name="T67" fmla="*/ 1266 h 1630"/>
                <a:gd name="T68" fmla="*/ 611 w 1292"/>
                <a:gd name="T69" fmla="*/ 1419 h 1630"/>
                <a:gd name="T70" fmla="*/ 996 w 1292"/>
                <a:gd name="T71" fmla="*/ 1408 h 1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92" h="1630">
                  <a:moveTo>
                    <a:pt x="207" y="601"/>
                  </a:moveTo>
                  <a:cubicBezTo>
                    <a:pt x="207" y="1033"/>
                    <a:pt x="207" y="1033"/>
                    <a:pt x="207" y="1033"/>
                  </a:cubicBezTo>
                  <a:cubicBezTo>
                    <a:pt x="207" y="1471"/>
                    <a:pt x="207" y="1471"/>
                    <a:pt x="207" y="1471"/>
                  </a:cubicBezTo>
                  <a:cubicBezTo>
                    <a:pt x="207" y="1471"/>
                    <a:pt x="129" y="1423"/>
                    <a:pt x="129" y="1295"/>
                  </a:cubicBezTo>
                  <a:cubicBezTo>
                    <a:pt x="129" y="1209"/>
                    <a:pt x="0" y="1179"/>
                    <a:pt x="0" y="1042"/>
                  </a:cubicBezTo>
                  <a:cubicBezTo>
                    <a:pt x="0" y="904"/>
                    <a:pt x="129" y="848"/>
                    <a:pt x="129" y="780"/>
                  </a:cubicBezTo>
                  <a:cubicBezTo>
                    <a:pt x="129" y="671"/>
                    <a:pt x="207" y="601"/>
                    <a:pt x="207" y="601"/>
                  </a:cubicBezTo>
                  <a:close/>
                  <a:moveTo>
                    <a:pt x="1118" y="1266"/>
                  </a:moveTo>
                  <a:cubicBezTo>
                    <a:pt x="1068" y="1266"/>
                    <a:pt x="1068" y="1266"/>
                    <a:pt x="1068" y="1266"/>
                  </a:cubicBezTo>
                  <a:cubicBezTo>
                    <a:pt x="1233" y="1586"/>
                    <a:pt x="1233" y="1586"/>
                    <a:pt x="1233" y="1586"/>
                  </a:cubicBezTo>
                  <a:cubicBezTo>
                    <a:pt x="474" y="1586"/>
                    <a:pt x="474" y="1586"/>
                    <a:pt x="474" y="1586"/>
                  </a:cubicBezTo>
                  <a:cubicBezTo>
                    <a:pt x="474" y="115"/>
                    <a:pt x="474" y="115"/>
                    <a:pt x="474" y="115"/>
                  </a:cubicBezTo>
                  <a:cubicBezTo>
                    <a:pt x="831" y="806"/>
                    <a:pt x="831" y="806"/>
                    <a:pt x="831" y="806"/>
                  </a:cubicBezTo>
                  <a:cubicBezTo>
                    <a:pt x="880" y="806"/>
                    <a:pt x="880" y="806"/>
                    <a:pt x="880" y="806"/>
                  </a:cubicBezTo>
                  <a:cubicBezTo>
                    <a:pt x="472" y="14"/>
                    <a:pt x="472" y="14"/>
                    <a:pt x="472" y="14"/>
                  </a:cubicBezTo>
                  <a:cubicBezTo>
                    <a:pt x="467" y="5"/>
                    <a:pt x="457" y="0"/>
                    <a:pt x="447" y="3"/>
                  </a:cubicBezTo>
                  <a:cubicBezTo>
                    <a:pt x="437" y="5"/>
                    <a:pt x="430" y="14"/>
                    <a:pt x="430" y="24"/>
                  </a:cubicBezTo>
                  <a:cubicBezTo>
                    <a:pt x="430" y="1608"/>
                    <a:pt x="430" y="1608"/>
                    <a:pt x="430" y="1608"/>
                  </a:cubicBezTo>
                  <a:cubicBezTo>
                    <a:pt x="430" y="1620"/>
                    <a:pt x="440" y="1630"/>
                    <a:pt x="452" y="1630"/>
                  </a:cubicBezTo>
                  <a:cubicBezTo>
                    <a:pt x="1269" y="1630"/>
                    <a:pt x="1269" y="1630"/>
                    <a:pt x="1269" y="1630"/>
                  </a:cubicBezTo>
                  <a:cubicBezTo>
                    <a:pt x="1277" y="1630"/>
                    <a:pt x="1284" y="1626"/>
                    <a:pt x="1288" y="1619"/>
                  </a:cubicBezTo>
                  <a:cubicBezTo>
                    <a:pt x="1292" y="1613"/>
                    <a:pt x="1292" y="1605"/>
                    <a:pt x="1289" y="1598"/>
                  </a:cubicBezTo>
                  <a:lnTo>
                    <a:pt x="1118" y="1266"/>
                  </a:lnTo>
                  <a:close/>
                  <a:moveTo>
                    <a:pt x="997" y="1387"/>
                  </a:moveTo>
                  <a:cubicBezTo>
                    <a:pt x="935" y="1266"/>
                    <a:pt x="935" y="1266"/>
                    <a:pt x="935" y="1266"/>
                  </a:cubicBezTo>
                  <a:cubicBezTo>
                    <a:pt x="886" y="1266"/>
                    <a:pt x="886" y="1266"/>
                    <a:pt x="886" y="1266"/>
                  </a:cubicBezTo>
                  <a:cubicBezTo>
                    <a:pt x="941" y="1375"/>
                    <a:pt x="941" y="1375"/>
                    <a:pt x="941" y="1375"/>
                  </a:cubicBezTo>
                  <a:cubicBezTo>
                    <a:pt x="633" y="1375"/>
                    <a:pt x="633" y="1375"/>
                    <a:pt x="633" y="1375"/>
                  </a:cubicBezTo>
                  <a:cubicBezTo>
                    <a:pt x="633" y="1266"/>
                    <a:pt x="633" y="1266"/>
                    <a:pt x="633" y="1266"/>
                  </a:cubicBezTo>
                  <a:cubicBezTo>
                    <a:pt x="633" y="806"/>
                    <a:pt x="633" y="806"/>
                    <a:pt x="633" y="806"/>
                  </a:cubicBezTo>
                  <a:cubicBezTo>
                    <a:pt x="633" y="775"/>
                    <a:pt x="633" y="775"/>
                    <a:pt x="633" y="775"/>
                  </a:cubicBezTo>
                  <a:cubicBezTo>
                    <a:pt x="649" y="806"/>
                    <a:pt x="649" y="806"/>
                    <a:pt x="649" y="806"/>
                  </a:cubicBezTo>
                  <a:cubicBezTo>
                    <a:pt x="698" y="806"/>
                    <a:pt x="698" y="806"/>
                    <a:pt x="698" y="806"/>
                  </a:cubicBezTo>
                  <a:cubicBezTo>
                    <a:pt x="631" y="674"/>
                    <a:pt x="631" y="674"/>
                    <a:pt x="631" y="674"/>
                  </a:cubicBezTo>
                  <a:cubicBezTo>
                    <a:pt x="631" y="674"/>
                    <a:pt x="630" y="674"/>
                    <a:pt x="630" y="674"/>
                  </a:cubicBezTo>
                  <a:cubicBezTo>
                    <a:pt x="630" y="673"/>
                    <a:pt x="629" y="672"/>
                    <a:pt x="629" y="671"/>
                  </a:cubicBezTo>
                  <a:cubicBezTo>
                    <a:pt x="629" y="671"/>
                    <a:pt x="628" y="671"/>
                    <a:pt x="628" y="671"/>
                  </a:cubicBezTo>
                  <a:cubicBezTo>
                    <a:pt x="628" y="670"/>
                    <a:pt x="627" y="669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4" y="666"/>
                    <a:pt x="622" y="665"/>
                    <a:pt x="620" y="664"/>
                  </a:cubicBezTo>
                  <a:cubicBezTo>
                    <a:pt x="620" y="664"/>
                    <a:pt x="620" y="664"/>
                    <a:pt x="620" y="664"/>
                  </a:cubicBezTo>
                  <a:cubicBezTo>
                    <a:pt x="619" y="664"/>
                    <a:pt x="618" y="663"/>
                    <a:pt x="617" y="663"/>
                  </a:cubicBezTo>
                  <a:cubicBezTo>
                    <a:pt x="617" y="663"/>
                    <a:pt x="617" y="663"/>
                    <a:pt x="616" y="663"/>
                  </a:cubicBezTo>
                  <a:cubicBezTo>
                    <a:pt x="615" y="663"/>
                    <a:pt x="614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2" y="662"/>
                    <a:pt x="612" y="662"/>
                    <a:pt x="611" y="662"/>
                  </a:cubicBezTo>
                  <a:cubicBezTo>
                    <a:pt x="611" y="662"/>
                    <a:pt x="610" y="662"/>
                    <a:pt x="610" y="662"/>
                  </a:cubicBezTo>
                  <a:cubicBezTo>
                    <a:pt x="610" y="662"/>
                    <a:pt x="609" y="662"/>
                    <a:pt x="609" y="662"/>
                  </a:cubicBezTo>
                  <a:cubicBezTo>
                    <a:pt x="608" y="662"/>
                    <a:pt x="607" y="663"/>
                    <a:pt x="606" y="663"/>
                  </a:cubicBezTo>
                  <a:cubicBezTo>
                    <a:pt x="606" y="663"/>
                    <a:pt x="606" y="663"/>
                    <a:pt x="606" y="663"/>
                  </a:cubicBezTo>
                  <a:cubicBezTo>
                    <a:pt x="606" y="663"/>
                    <a:pt x="606" y="663"/>
                    <a:pt x="606" y="663"/>
                  </a:cubicBezTo>
                  <a:cubicBezTo>
                    <a:pt x="604" y="663"/>
                    <a:pt x="603" y="664"/>
                    <a:pt x="602" y="664"/>
                  </a:cubicBezTo>
                  <a:cubicBezTo>
                    <a:pt x="602" y="664"/>
                    <a:pt x="602" y="664"/>
                    <a:pt x="602" y="664"/>
                  </a:cubicBezTo>
                  <a:cubicBezTo>
                    <a:pt x="601" y="664"/>
                    <a:pt x="600" y="665"/>
                    <a:pt x="599" y="666"/>
                  </a:cubicBezTo>
                  <a:cubicBezTo>
                    <a:pt x="599" y="666"/>
                    <a:pt x="599" y="666"/>
                    <a:pt x="599" y="666"/>
                  </a:cubicBezTo>
                  <a:cubicBezTo>
                    <a:pt x="598" y="666"/>
                    <a:pt x="597" y="667"/>
                    <a:pt x="596" y="668"/>
                  </a:cubicBezTo>
                  <a:cubicBezTo>
                    <a:pt x="596" y="668"/>
                    <a:pt x="596" y="668"/>
                    <a:pt x="596" y="668"/>
                  </a:cubicBezTo>
                  <a:cubicBezTo>
                    <a:pt x="595" y="669"/>
                    <a:pt x="594" y="670"/>
                    <a:pt x="594" y="670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3" y="672"/>
                    <a:pt x="592" y="673"/>
                    <a:pt x="592" y="674"/>
                  </a:cubicBezTo>
                  <a:cubicBezTo>
                    <a:pt x="592" y="674"/>
                    <a:pt x="592" y="674"/>
                    <a:pt x="592" y="674"/>
                  </a:cubicBezTo>
                  <a:cubicBezTo>
                    <a:pt x="591" y="675"/>
                    <a:pt x="591" y="676"/>
                    <a:pt x="590" y="677"/>
                  </a:cubicBezTo>
                  <a:cubicBezTo>
                    <a:pt x="590" y="677"/>
                    <a:pt x="590" y="677"/>
                    <a:pt x="590" y="677"/>
                  </a:cubicBezTo>
                  <a:cubicBezTo>
                    <a:pt x="590" y="678"/>
                    <a:pt x="590" y="679"/>
                    <a:pt x="589" y="680"/>
                  </a:cubicBezTo>
                  <a:cubicBezTo>
                    <a:pt x="589" y="680"/>
                    <a:pt x="589" y="681"/>
                    <a:pt x="589" y="681"/>
                  </a:cubicBezTo>
                  <a:cubicBezTo>
                    <a:pt x="589" y="682"/>
                    <a:pt x="589" y="683"/>
                    <a:pt x="589" y="684"/>
                  </a:cubicBezTo>
                  <a:cubicBezTo>
                    <a:pt x="589" y="806"/>
                    <a:pt x="589" y="806"/>
                    <a:pt x="589" y="806"/>
                  </a:cubicBezTo>
                  <a:cubicBezTo>
                    <a:pt x="589" y="1266"/>
                    <a:pt x="589" y="1266"/>
                    <a:pt x="589" y="1266"/>
                  </a:cubicBezTo>
                  <a:cubicBezTo>
                    <a:pt x="589" y="1397"/>
                    <a:pt x="589" y="1397"/>
                    <a:pt x="589" y="1397"/>
                  </a:cubicBezTo>
                  <a:cubicBezTo>
                    <a:pt x="589" y="1409"/>
                    <a:pt x="599" y="1419"/>
                    <a:pt x="611" y="1419"/>
                  </a:cubicBezTo>
                  <a:cubicBezTo>
                    <a:pt x="978" y="1419"/>
                    <a:pt x="978" y="1419"/>
                    <a:pt x="978" y="1419"/>
                  </a:cubicBezTo>
                  <a:cubicBezTo>
                    <a:pt x="985" y="1419"/>
                    <a:pt x="992" y="1415"/>
                    <a:pt x="996" y="1408"/>
                  </a:cubicBezTo>
                  <a:cubicBezTo>
                    <a:pt x="1000" y="1402"/>
                    <a:pt x="1001" y="1393"/>
                    <a:pt x="997" y="1387"/>
                  </a:cubicBezTo>
                  <a:close/>
                </a:path>
              </a:pathLst>
            </a:custGeom>
            <a:solidFill>
              <a:srgbClr val="E228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B4919D9B-E970-7A9A-2392-074D97D79F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7" y="2250"/>
              <a:ext cx="2718" cy="697"/>
            </a:xfrm>
            <a:custGeom>
              <a:avLst/>
              <a:gdLst>
                <a:gd name="T0" fmla="*/ 1429 w 1451"/>
                <a:gd name="T1" fmla="*/ 0 h 372"/>
                <a:gd name="T2" fmla="*/ 426 w 1451"/>
                <a:gd name="T3" fmla="*/ 0 h 372"/>
                <a:gd name="T4" fmla="*/ 426 w 1451"/>
                <a:gd name="T5" fmla="*/ 372 h 372"/>
                <a:gd name="T6" fmla="*/ 1429 w 1451"/>
                <a:gd name="T7" fmla="*/ 372 h 372"/>
                <a:gd name="T8" fmla="*/ 1451 w 1451"/>
                <a:gd name="T9" fmla="*/ 350 h 372"/>
                <a:gd name="T10" fmla="*/ 1451 w 1451"/>
                <a:gd name="T11" fmla="*/ 22 h 372"/>
                <a:gd name="T12" fmla="*/ 1429 w 1451"/>
                <a:gd name="T13" fmla="*/ 0 h 372"/>
                <a:gd name="T14" fmla="*/ 1349 w 1451"/>
                <a:gd name="T15" fmla="*/ 225 h 372"/>
                <a:gd name="T16" fmla="*/ 1310 w 1451"/>
                <a:gd name="T17" fmla="*/ 186 h 372"/>
                <a:gd name="T18" fmla="*/ 1349 w 1451"/>
                <a:gd name="T19" fmla="*/ 147 h 372"/>
                <a:gd name="T20" fmla="*/ 1388 w 1451"/>
                <a:gd name="T21" fmla="*/ 186 h 372"/>
                <a:gd name="T22" fmla="*/ 1349 w 1451"/>
                <a:gd name="T23" fmla="*/ 225 h 372"/>
                <a:gd name="T24" fmla="*/ 135 w 1451"/>
                <a:gd name="T25" fmla="*/ 0 h 372"/>
                <a:gd name="T26" fmla="*/ 135 w 1451"/>
                <a:gd name="T27" fmla="*/ 372 h 372"/>
                <a:gd name="T28" fmla="*/ 0 w 1451"/>
                <a:gd name="T29" fmla="*/ 372 h 372"/>
                <a:gd name="T30" fmla="*/ 0 w 1451"/>
                <a:gd name="T31" fmla="*/ 0 h 372"/>
                <a:gd name="T32" fmla="*/ 135 w 1451"/>
                <a:gd name="T33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51" h="372">
                  <a:moveTo>
                    <a:pt x="1429" y="0"/>
                  </a:moveTo>
                  <a:cubicBezTo>
                    <a:pt x="426" y="0"/>
                    <a:pt x="426" y="0"/>
                    <a:pt x="426" y="0"/>
                  </a:cubicBezTo>
                  <a:cubicBezTo>
                    <a:pt x="426" y="372"/>
                    <a:pt x="426" y="372"/>
                    <a:pt x="426" y="372"/>
                  </a:cubicBezTo>
                  <a:cubicBezTo>
                    <a:pt x="1429" y="372"/>
                    <a:pt x="1429" y="372"/>
                    <a:pt x="1429" y="372"/>
                  </a:cubicBezTo>
                  <a:cubicBezTo>
                    <a:pt x="1441" y="372"/>
                    <a:pt x="1451" y="363"/>
                    <a:pt x="1451" y="350"/>
                  </a:cubicBezTo>
                  <a:cubicBezTo>
                    <a:pt x="1451" y="22"/>
                    <a:pt x="1451" y="22"/>
                    <a:pt x="1451" y="22"/>
                  </a:cubicBezTo>
                  <a:cubicBezTo>
                    <a:pt x="1451" y="10"/>
                    <a:pt x="1441" y="0"/>
                    <a:pt x="1429" y="0"/>
                  </a:cubicBezTo>
                  <a:close/>
                  <a:moveTo>
                    <a:pt x="1349" y="225"/>
                  </a:moveTo>
                  <a:cubicBezTo>
                    <a:pt x="1327" y="225"/>
                    <a:pt x="1310" y="208"/>
                    <a:pt x="1310" y="186"/>
                  </a:cubicBezTo>
                  <a:cubicBezTo>
                    <a:pt x="1310" y="165"/>
                    <a:pt x="1327" y="147"/>
                    <a:pt x="1349" y="147"/>
                  </a:cubicBezTo>
                  <a:cubicBezTo>
                    <a:pt x="1370" y="147"/>
                    <a:pt x="1388" y="165"/>
                    <a:pt x="1388" y="186"/>
                  </a:cubicBezTo>
                  <a:cubicBezTo>
                    <a:pt x="1388" y="208"/>
                    <a:pt x="1370" y="225"/>
                    <a:pt x="1349" y="225"/>
                  </a:cubicBezTo>
                  <a:close/>
                  <a:moveTo>
                    <a:pt x="135" y="0"/>
                  </a:moveTo>
                  <a:cubicBezTo>
                    <a:pt x="135" y="372"/>
                    <a:pt x="135" y="372"/>
                    <a:pt x="135" y="372"/>
                  </a:cubicBezTo>
                  <a:cubicBezTo>
                    <a:pt x="111" y="372"/>
                    <a:pt x="70" y="372"/>
                    <a:pt x="0" y="3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" y="0"/>
                    <a:pt x="55" y="0"/>
                    <a:pt x="135" y="0"/>
                  </a:cubicBezTo>
                  <a:close/>
                </a:path>
              </a:pathLst>
            </a:custGeom>
            <a:solidFill>
              <a:srgbClr val="E228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9B63051-707C-ACAA-E137-538EFA67EB03}"/>
              </a:ext>
            </a:extLst>
          </p:cNvPr>
          <p:cNvSpPr txBox="1">
            <a:spLocks/>
          </p:cNvSpPr>
          <p:nvPr/>
        </p:nvSpPr>
        <p:spPr>
          <a:xfrm>
            <a:off x="553881" y="5577285"/>
            <a:ext cx="13668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8080"/>
              </a:buClr>
              <a:buSzTx/>
              <a:buFontTx/>
              <a:buBlip>
                <a:blip r:embed="rId4"/>
              </a:buBlip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8080"/>
              </a:buClr>
              <a:buSzTx/>
              <a:buFontTx/>
              <a:buBlip>
                <a:blip r:embed="rId4"/>
              </a:buBlip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marR="0" indent="-233362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marR="0" indent="-2301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8080"/>
              </a:buClr>
              <a:buSzTx/>
              <a:buFont typeface="Arial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cs-CZ" sz="1800" i="1">
                <a:solidFill>
                  <a:schemeClr val="tx2"/>
                </a:solidFill>
                <a:latin typeface="Century Gothic" panose="020B0502020202020204" pitchFamily="34" charset="0"/>
              </a:rPr>
              <a:t>Navrhni</a:t>
            </a:r>
            <a:endParaRPr lang="en-US" sz="1800" i="1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07244DA-1DA5-6469-DC9F-F40FC9CA836C}"/>
              </a:ext>
            </a:extLst>
          </p:cNvPr>
          <p:cNvSpPr txBox="1">
            <a:spLocks/>
          </p:cNvSpPr>
          <p:nvPr/>
        </p:nvSpPr>
        <p:spPr>
          <a:xfrm>
            <a:off x="2320090" y="5577285"/>
            <a:ext cx="13668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8080"/>
              </a:buClr>
              <a:buSzTx/>
              <a:buFontTx/>
              <a:buBlip>
                <a:blip r:embed="rId4"/>
              </a:buBlip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8080"/>
              </a:buClr>
              <a:buSzTx/>
              <a:buFontTx/>
              <a:buBlip>
                <a:blip r:embed="rId4"/>
              </a:buBlip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marR="0" indent="-233362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marR="0" indent="-2301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8080"/>
              </a:buClr>
              <a:buSzTx/>
              <a:buFont typeface="Arial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cs-CZ" sz="1800" i="1">
                <a:solidFill>
                  <a:schemeClr val="tx2"/>
                </a:solidFill>
                <a:latin typeface="Century Gothic" panose="020B0502020202020204" pitchFamily="34" charset="0"/>
              </a:rPr>
              <a:t>Postav</a:t>
            </a:r>
            <a:endParaRPr lang="en-US" sz="1800" i="1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F842151-E104-49C5-3DA8-A359B959932D}"/>
              </a:ext>
            </a:extLst>
          </p:cNvPr>
          <p:cNvSpPr txBox="1">
            <a:spLocks/>
          </p:cNvSpPr>
          <p:nvPr/>
        </p:nvSpPr>
        <p:spPr>
          <a:xfrm>
            <a:off x="4071469" y="5577285"/>
            <a:ext cx="13668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8080"/>
              </a:buClr>
              <a:buSzTx/>
              <a:buFontTx/>
              <a:buBlip>
                <a:blip r:embed="rId4"/>
              </a:buBlip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8080"/>
              </a:buClr>
              <a:buSzTx/>
              <a:buFontTx/>
              <a:buBlip>
                <a:blip r:embed="rId4"/>
              </a:buBlip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marR="0" indent="-233362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marR="0" indent="-2301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08080"/>
              </a:buClr>
              <a:buSzTx/>
              <a:buFont typeface="Arial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cs-CZ" sz="1800" i="1">
                <a:solidFill>
                  <a:schemeClr val="tx2"/>
                </a:solidFill>
                <a:latin typeface="Century Gothic" panose="020B0502020202020204" pitchFamily="34" charset="0"/>
              </a:rPr>
              <a:t>Závoď</a:t>
            </a:r>
            <a:endParaRPr lang="en-US" sz="1800" i="1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35" name="Freeform 51">
            <a:extLst>
              <a:ext uri="{FF2B5EF4-FFF2-40B4-BE49-F238E27FC236}">
                <a16:creationId xmlns:a16="http://schemas.microsoft.com/office/drawing/2014/main" id="{CA7C4AC0-29DA-40B9-5811-4B6ED45AE0B8}"/>
              </a:ext>
            </a:extLst>
          </p:cNvPr>
          <p:cNvSpPr>
            <a:spLocks/>
          </p:cNvSpPr>
          <p:nvPr/>
        </p:nvSpPr>
        <p:spPr bwMode="auto">
          <a:xfrm>
            <a:off x="2004386" y="4514547"/>
            <a:ext cx="232020" cy="915057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36" name="Freeform 51">
            <a:extLst>
              <a:ext uri="{FF2B5EF4-FFF2-40B4-BE49-F238E27FC236}">
                <a16:creationId xmlns:a16="http://schemas.microsoft.com/office/drawing/2014/main" id="{551683C6-FFDA-E31A-E48E-4AB5F0F5B411}"/>
              </a:ext>
            </a:extLst>
          </p:cNvPr>
          <p:cNvSpPr>
            <a:spLocks/>
          </p:cNvSpPr>
          <p:nvPr/>
        </p:nvSpPr>
        <p:spPr bwMode="auto">
          <a:xfrm>
            <a:off x="3824293" y="4514547"/>
            <a:ext cx="232020" cy="915057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597075F7-B0D0-E2E0-37F4-59B3A81DA044}"/>
              </a:ext>
            </a:extLst>
          </p:cNvPr>
          <p:cNvSpPr txBox="1"/>
          <p:nvPr/>
        </p:nvSpPr>
        <p:spPr>
          <a:xfrm>
            <a:off x="1606731" y="3741252"/>
            <a:ext cx="3461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>
                <a:latin typeface="Century Gothic" panose="020B0502020202020204" pitchFamily="34" charset="0"/>
              </a:rPr>
              <a:t>Základní myšlenka</a:t>
            </a:r>
          </a:p>
        </p:txBody>
      </p:sp>
      <p:pic>
        <p:nvPicPr>
          <p:cNvPr id="40" name="Zástupný symbol obrázku 6" descr="Obsah obrázku zdobené, rostlina&#10;&#10;Popis byl vytvořen automaticky">
            <a:extLst>
              <a:ext uri="{FF2B5EF4-FFF2-40B4-BE49-F238E27FC236}">
                <a16:creationId xmlns:a16="http://schemas.microsoft.com/office/drawing/2014/main" id="{F788A424-6DAE-80EE-2E97-4F2DDD6128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3" r="16663"/>
          <a:stretch>
            <a:fillRect/>
          </a:stretch>
        </p:blipFill>
        <p:spPr>
          <a:xfrm rot="10800000">
            <a:off x="6092381" y="-233895"/>
            <a:ext cx="6164362" cy="6929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0513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40478AF-9496-9BB3-EAA7-6476E9637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13" y="586265"/>
            <a:ext cx="2668587" cy="854080"/>
          </a:xfrm>
        </p:spPr>
        <p:txBody>
          <a:bodyPr/>
          <a:lstStyle/>
          <a:p>
            <a:r>
              <a:rPr lang="cs-CZ" sz="4000">
                <a:latin typeface="Montserrat" pitchFamily="2" charset="0"/>
              </a:rPr>
              <a:t>ZÁVODY</a:t>
            </a:r>
          </a:p>
        </p:txBody>
      </p:sp>
      <p:pic>
        <p:nvPicPr>
          <p:cNvPr id="9" name="Obrázek 8" descr="Obsah obrázku snímek obrazovky, kruh, Barevnost, Grafika&#10;&#10;Popis byl vytvořen automaticky">
            <a:extLst>
              <a:ext uri="{FF2B5EF4-FFF2-40B4-BE49-F238E27FC236}">
                <a16:creationId xmlns:a16="http://schemas.microsoft.com/office/drawing/2014/main" id="{1A927DA9-A815-CEDF-9967-04BB0B5C13B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5" t="4751" r="26531" b="2932"/>
          <a:stretch/>
        </p:blipFill>
        <p:spPr>
          <a:xfrm>
            <a:off x="4067637" y="1440345"/>
            <a:ext cx="4049488" cy="430364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EA252346-D2F7-8821-2568-F3FEDF1853D9}"/>
              </a:ext>
            </a:extLst>
          </p:cNvPr>
          <p:cNvSpPr txBox="1"/>
          <p:nvPr/>
        </p:nvSpPr>
        <p:spPr>
          <a:xfrm>
            <a:off x="6122160" y="1271068"/>
            <a:ext cx="17547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err="1">
                <a:latin typeface="Century Gothic" panose="020B0502020202020204" pitchFamily="34" charset="0"/>
              </a:rPr>
              <a:t>Acceleration</a:t>
            </a:r>
            <a:endParaRPr lang="cs-CZ" sz="1600">
              <a:latin typeface="Century Gothic" panose="020B0502020202020204" pitchFamily="34" charset="0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6572C93E-9C58-D631-8A56-7FD44DF2349E}"/>
              </a:ext>
            </a:extLst>
          </p:cNvPr>
          <p:cNvSpPr txBox="1"/>
          <p:nvPr/>
        </p:nvSpPr>
        <p:spPr>
          <a:xfrm>
            <a:off x="7133525" y="1609622"/>
            <a:ext cx="2519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err="1">
                <a:latin typeface="Century Gothic" panose="020B0502020202020204" pitchFamily="34" charset="0"/>
              </a:rPr>
              <a:t>Acceleration</a:t>
            </a:r>
            <a:r>
              <a:rPr lang="cs-CZ" sz="1600">
                <a:latin typeface="Century Gothic" panose="020B0502020202020204" pitchFamily="34" charset="0"/>
              </a:rPr>
              <a:t> </a:t>
            </a:r>
            <a:r>
              <a:rPr lang="cs-CZ" sz="1600" err="1">
                <a:latin typeface="Century Gothic" panose="020B0502020202020204" pitchFamily="34" charset="0"/>
              </a:rPr>
              <a:t>Driverless</a:t>
            </a:r>
            <a:endParaRPr lang="cs-CZ" sz="1600">
              <a:latin typeface="Century Gothic" panose="020B0502020202020204" pitchFamily="34" charset="0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6C52EEA8-9645-A16A-7504-9775394D7D88}"/>
              </a:ext>
            </a:extLst>
          </p:cNvPr>
          <p:cNvSpPr txBox="1"/>
          <p:nvPr/>
        </p:nvSpPr>
        <p:spPr>
          <a:xfrm>
            <a:off x="7703200" y="2297032"/>
            <a:ext cx="225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err="1">
                <a:latin typeface="Century Gothic" panose="020B0502020202020204" pitchFamily="34" charset="0"/>
              </a:rPr>
              <a:t>Skid</a:t>
            </a:r>
            <a:r>
              <a:rPr lang="cs-CZ" sz="1600">
                <a:latin typeface="Century Gothic" panose="020B0502020202020204" pitchFamily="34" charset="0"/>
              </a:rPr>
              <a:t> </a:t>
            </a:r>
            <a:r>
              <a:rPr lang="cs-CZ" sz="1600" err="1">
                <a:latin typeface="Century Gothic" panose="020B0502020202020204" pitchFamily="34" charset="0"/>
              </a:rPr>
              <a:t>Pad</a:t>
            </a:r>
            <a:endParaRPr lang="cs-CZ" sz="1600">
              <a:latin typeface="Century Gothic" panose="020B0502020202020204" pitchFamily="34" charset="0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7F8F8551-8A51-14A1-FB86-4D0BEC123DE0}"/>
              </a:ext>
            </a:extLst>
          </p:cNvPr>
          <p:cNvSpPr txBox="1"/>
          <p:nvPr/>
        </p:nvSpPr>
        <p:spPr>
          <a:xfrm>
            <a:off x="8017611" y="2974140"/>
            <a:ext cx="225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err="1">
                <a:latin typeface="Century Gothic" panose="020B0502020202020204" pitchFamily="34" charset="0"/>
              </a:rPr>
              <a:t>Skid</a:t>
            </a:r>
            <a:r>
              <a:rPr lang="cs-CZ" sz="1600">
                <a:latin typeface="Century Gothic" panose="020B0502020202020204" pitchFamily="34" charset="0"/>
              </a:rPr>
              <a:t> </a:t>
            </a:r>
            <a:r>
              <a:rPr lang="cs-CZ" sz="1600" err="1">
                <a:latin typeface="Century Gothic" panose="020B0502020202020204" pitchFamily="34" charset="0"/>
              </a:rPr>
              <a:t>Pad</a:t>
            </a:r>
            <a:r>
              <a:rPr lang="cs-CZ" sz="1600">
                <a:latin typeface="Century Gothic" panose="020B0502020202020204" pitchFamily="34" charset="0"/>
              </a:rPr>
              <a:t> </a:t>
            </a:r>
            <a:r>
              <a:rPr lang="cs-CZ" sz="1600" err="1">
                <a:latin typeface="Century Gothic" panose="020B0502020202020204" pitchFamily="34" charset="0"/>
              </a:rPr>
              <a:t>Driverless</a:t>
            </a:r>
            <a:endParaRPr lang="cs-CZ" sz="1600">
              <a:latin typeface="Century Gothic" panose="020B0502020202020204" pitchFamily="34" charset="0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97F21D7E-BF7E-3514-B7FE-150DEC52F9B7}"/>
              </a:ext>
            </a:extLst>
          </p:cNvPr>
          <p:cNvSpPr txBox="1"/>
          <p:nvPr/>
        </p:nvSpPr>
        <p:spPr>
          <a:xfrm>
            <a:off x="7823311" y="3904175"/>
            <a:ext cx="225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err="1">
                <a:latin typeface="Century Gothic" panose="020B0502020202020204" pitchFamily="34" charset="0"/>
              </a:rPr>
              <a:t>Autocross</a:t>
            </a:r>
            <a:endParaRPr lang="cs-CZ" sz="1600">
              <a:latin typeface="Century Gothic" panose="020B0502020202020204" pitchFamily="34" charset="0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B21A374D-4524-9FA8-EAF4-872F2631F28E}"/>
              </a:ext>
            </a:extLst>
          </p:cNvPr>
          <p:cNvSpPr txBox="1"/>
          <p:nvPr/>
        </p:nvSpPr>
        <p:spPr>
          <a:xfrm>
            <a:off x="7420005" y="4876500"/>
            <a:ext cx="225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err="1">
                <a:latin typeface="Century Gothic" panose="020B0502020202020204" pitchFamily="34" charset="0"/>
              </a:rPr>
              <a:t>Energy</a:t>
            </a:r>
            <a:r>
              <a:rPr lang="cs-CZ" sz="1600">
                <a:latin typeface="Century Gothic" panose="020B0502020202020204" pitchFamily="34" charset="0"/>
              </a:rPr>
              <a:t> </a:t>
            </a:r>
            <a:r>
              <a:rPr lang="cs-CZ" sz="1600" err="1">
                <a:latin typeface="Century Gothic" panose="020B0502020202020204" pitchFamily="34" charset="0"/>
              </a:rPr>
              <a:t>Efficiency</a:t>
            </a:r>
            <a:endParaRPr lang="cs-CZ" sz="1600">
              <a:latin typeface="Century Gothic" panose="020B0502020202020204" pitchFamily="34" charset="0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DF9EC4A3-3153-3E14-4143-2A723296230F}"/>
              </a:ext>
            </a:extLst>
          </p:cNvPr>
          <p:cNvSpPr txBox="1"/>
          <p:nvPr/>
        </p:nvSpPr>
        <p:spPr>
          <a:xfrm>
            <a:off x="3833712" y="5248378"/>
            <a:ext cx="225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err="1">
                <a:latin typeface="Century Gothic" panose="020B0502020202020204" pitchFamily="34" charset="0"/>
              </a:rPr>
              <a:t>Endurance</a:t>
            </a:r>
            <a:endParaRPr lang="cs-CZ" sz="1600">
              <a:latin typeface="Century Gothic" panose="020B0502020202020204" pitchFamily="34" charset="0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1B34310F-C61C-584A-160F-0A3D5382648E}"/>
              </a:ext>
            </a:extLst>
          </p:cNvPr>
          <p:cNvSpPr txBox="1"/>
          <p:nvPr/>
        </p:nvSpPr>
        <p:spPr>
          <a:xfrm>
            <a:off x="2673015" y="3734898"/>
            <a:ext cx="1722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>
                <a:latin typeface="Century Gothic" panose="020B0502020202020204" pitchFamily="34" charset="0"/>
              </a:rPr>
              <a:t>Business </a:t>
            </a:r>
            <a:r>
              <a:rPr lang="cs-CZ" sz="1600" err="1">
                <a:latin typeface="Century Gothic" panose="020B0502020202020204" pitchFamily="34" charset="0"/>
              </a:rPr>
              <a:t>Plan</a:t>
            </a:r>
            <a:endParaRPr lang="cs-CZ" sz="1600">
              <a:latin typeface="Century Gothic" panose="020B0502020202020204" pitchFamily="34" charset="0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21FBEF7A-ADD8-CFDA-0DED-003D9C1BF2C1}"/>
              </a:ext>
            </a:extLst>
          </p:cNvPr>
          <p:cNvSpPr txBox="1"/>
          <p:nvPr/>
        </p:nvSpPr>
        <p:spPr>
          <a:xfrm>
            <a:off x="2531534" y="2681752"/>
            <a:ext cx="1722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err="1">
                <a:latin typeface="Century Gothic" panose="020B0502020202020204" pitchFamily="34" charset="0"/>
              </a:rPr>
              <a:t>Cost</a:t>
            </a:r>
            <a:r>
              <a:rPr lang="cs-CZ" sz="1600">
                <a:latin typeface="Century Gothic" panose="020B0502020202020204" pitchFamily="34" charset="0"/>
              </a:rPr>
              <a:t> and </a:t>
            </a:r>
            <a:r>
              <a:rPr lang="cs-CZ" sz="1600" err="1">
                <a:latin typeface="Century Gothic" panose="020B0502020202020204" pitchFamily="34" charset="0"/>
              </a:rPr>
              <a:t>Manufacturing</a:t>
            </a:r>
            <a:endParaRPr lang="cs-CZ" sz="1600">
              <a:latin typeface="Century Gothic" panose="020B050202020202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FBB4E8E-A987-52E5-61F6-20F90552417C}"/>
              </a:ext>
            </a:extLst>
          </p:cNvPr>
          <p:cNvSpPr txBox="1"/>
          <p:nvPr/>
        </p:nvSpPr>
        <p:spPr>
          <a:xfrm>
            <a:off x="3768203" y="1323941"/>
            <a:ext cx="1722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err="1">
                <a:latin typeface="Century Gothic" panose="020B0502020202020204" pitchFamily="34" charset="0"/>
              </a:rPr>
              <a:t>Engineering</a:t>
            </a:r>
            <a:r>
              <a:rPr lang="cs-CZ" sz="1600">
                <a:latin typeface="Century Gothic" panose="020B0502020202020204" pitchFamily="34" charset="0"/>
              </a:rPr>
              <a:t> Design</a:t>
            </a:r>
          </a:p>
        </p:txBody>
      </p:sp>
    </p:spTree>
    <p:extLst>
      <p:ext uri="{BB962C8B-B14F-4D97-AF65-F5344CB8AC3E}">
        <p14:creationId xmlns:p14="http://schemas.microsoft.com/office/powerpoint/2010/main" val="1288633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Straight Arrow Connector 140">
            <a:extLst>
              <a:ext uri="{FF2B5EF4-FFF2-40B4-BE49-F238E27FC236}">
                <a16:creationId xmlns:a16="http://schemas.microsoft.com/office/drawing/2014/main" id="{08FA7B01-D9E5-53A3-8E24-806426BE41F5}"/>
              </a:ext>
            </a:extLst>
          </p:cNvPr>
          <p:cNvCxnSpPr>
            <a:cxnSpLocks/>
          </p:cNvCxnSpPr>
          <p:nvPr/>
        </p:nvCxnSpPr>
        <p:spPr>
          <a:xfrm>
            <a:off x="5844246" y="298690"/>
            <a:ext cx="0" cy="6311932"/>
          </a:xfrm>
          <a:prstGeom prst="straightConnector1">
            <a:avLst/>
          </a:prstGeom>
          <a:ln w="31750" cap="rnd">
            <a:solidFill>
              <a:srgbClr val="FE66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140">
            <a:extLst>
              <a:ext uri="{FF2B5EF4-FFF2-40B4-BE49-F238E27FC236}">
                <a16:creationId xmlns:a16="http://schemas.microsoft.com/office/drawing/2014/main" id="{AB91E048-0A6B-9FF2-C7CC-36567D056E97}"/>
              </a:ext>
            </a:extLst>
          </p:cNvPr>
          <p:cNvCxnSpPr>
            <a:cxnSpLocks/>
          </p:cNvCxnSpPr>
          <p:nvPr/>
        </p:nvCxnSpPr>
        <p:spPr>
          <a:xfrm>
            <a:off x="6963405" y="298690"/>
            <a:ext cx="0" cy="6311932"/>
          </a:xfrm>
          <a:prstGeom prst="straightConnector1">
            <a:avLst/>
          </a:prstGeom>
          <a:ln w="31750" cap="rnd">
            <a:solidFill>
              <a:schemeClr val="accent5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36703A73-8882-BB95-F1D4-46EACF6A1C46}"/>
              </a:ext>
            </a:extLst>
          </p:cNvPr>
          <p:cNvGrpSpPr/>
          <p:nvPr/>
        </p:nvGrpSpPr>
        <p:grpSpPr>
          <a:xfrm>
            <a:off x="1741906" y="247378"/>
            <a:ext cx="10956745" cy="5928342"/>
            <a:chOff x="641592" y="197866"/>
            <a:chExt cx="10956745" cy="5838655"/>
          </a:xfrm>
        </p:grpSpPr>
        <p:cxnSp>
          <p:nvCxnSpPr>
            <p:cNvPr id="29" name="Straight Connector 165">
              <a:extLst>
                <a:ext uri="{FF2B5EF4-FFF2-40B4-BE49-F238E27FC236}">
                  <a16:creationId xmlns:a16="http://schemas.microsoft.com/office/drawing/2014/main" id="{5A968DCF-FB20-F9B4-AA49-A8BDDFEAAE6F}"/>
                </a:ext>
              </a:extLst>
            </p:cNvPr>
            <p:cNvCxnSpPr>
              <a:cxnSpLocks/>
            </p:cNvCxnSpPr>
            <p:nvPr/>
          </p:nvCxnSpPr>
          <p:spPr>
            <a:xfrm>
              <a:off x="4080332" y="824137"/>
              <a:ext cx="671822" cy="0"/>
            </a:xfrm>
            <a:prstGeom prst="line">
              <a:avLst/>
            </a:prstGeom>
            <a:ln w="19050" cap="rnd">
              <a:solidFill>
                <a:srgbClr val="FE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166">
              <a:extLst>
                <a:ext uri="{FF2B5EF4-FFF2-40B4-BE49-F238E27FC236}">
                  <a16:creationId xmlns:a16="http://schemas.microsoft.com/office/drawing/2014/main" id="{C62D3F52-67D8-BD38-A7AE-45591AEE4D07}"/>
                </a:ext>
              </a:extLst>
            </p:cNvPr>
            <p:cNvCxnSpPr>
              <a:cxnSpLocks/>
            </p:cNvCxnSpPr>
            <p:nvPr/>
          </p:nvCxnSpPr>
          <p:spPr>
            <a:xfrm>
              <a:off x="5903497" y="2196192"/>
              <a:ext cx="815202" cy="0"/>
            </a:xfrm>
            <a:prstGeom prst="line">
              <a:avLst/>
            </a:prstGeom>
            <a:ln w="1905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65">
              <a:extLst>
                <a:ext uri="{FF2B5EF4-FFF2-40B4-BE49-F238E27FC236}">
                  <a16:creationId xmlns:a16="http://schemas.microsoft.com/office/drawing/2014/main" id="{F731943E-F851-82FA-D866-86D21A673F80}"/>
                </a:ext>
              </a:extLst>
            </p:cNvPr>
            <p:cNvCxnSpPr>
              <a:cxnSpLocks/>
            </p:cNvCxnSpPr>
            <p:nvPr/>
          </p:nvCxnSpPr>
          <p:spPr>
            <a:xfrm>
              <a:off x="5863091" y="878138"/>
              <a:ext cx="704236" cy="0"/>
            </a:xfrm>
            <a:prstGeom prst="line">
              <a:avLst/>
            </a:prstGeom>
            <a:ln w="1905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56">
              <a:extLst>
                <a:ext uri="{FF2B5EF4-FFF2-40B4-BE49-F238E27FC236}">
                  <a16:creationId xmlns:a16="http://schemas.microsoft.com/office/drawing/2014/main" id="{90BBD932-AA72-DF7D-5A17-BC4DBE6F879D}"/>
                </a:ext>
              </a:extLst>
            </p:cNvPr>
            <p:cNvCxnSpPr>
              <a:cxnSpLocks/>
            </p:cNvCxnSpPr>
            <p:nvPr/>
          </p:nvCxnSpPr>
          <p:spPr>
            <a:xfrm>
              <a:off x="5869744" y="3700874"/>
              <a:ext cx="1021675" cy="0"/>
            </a:xfrm>
            <a:prstGeom prst="line">
              <a:avLst/>
            </a:prstGeom>
            <a:ln w="1905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67">
              <a:extLst>
                <a:ext uri="{FF2B5EF4-FFF2-40B4-BE49-F238E27FC236}">
                  <a16:creationId xmlns:a16="http://schemas.microsoft.com/office/drawing/2014/main" id="{83637313-EF35-8EBA-6E25-9FAC4D826D53}"/>
                </a:ext>
              </a:extLst>
            </p:cNvPr>
            <p:cNvCxnSpPr/>
            <p:nvPr/>
          </p:nvCxnSpPr>
          <p:spPr>
            <a:xfrm>
              <a:off x="6733339" y="1939711"/>
              <a:ext cx="0" cy="512627"/>
            </a:xfrm>
            <a:prstGeom prst="line">
              <a:avLst/>
            </a:prstGeom>
            <a:ln w="1905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Oval 168">
              <a:extLst>
                <a:ext uri="{FF2B5EF4-FFF2-40B4-BE49-F238E27FC236}">
                  <a16:creationId xmlns:a16="http://schemas.microsoft.com/office/drawing/2014/main" id="{FB48D9A2-C1FF-7EE4-1FF5-5D8D3A02D13B}"/>
                </a:ext>
              </a:extLst>
            </p:cNvPr>
            <p:cNvSpPr/>
            <p:nvPr/>
          </p:nvSpPr>
          <p:spPr>
            <a:xfrm>
              <a:off x="5812418" y="2136466"/>
              <a:ext cx="108000" cy="108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9" name="Rectangle 169">
              <a:extLst>
                <a:ext uri="{FF2B5EF4-FFF2-40B4-BE49-F238E27FC236}">
                  <a16:creationId xmlns:a16="http://schemas.microsoft.com/office/drawing/2014/main" id="{AC36317B-2681-D6A0-39AA-5C1A6CDF3E22}"/>
                </a:ext>
              </a:extLst>
            </p:cNvPr>
            <p:cNvSpPr/>
            <p:nvPr/>
          </p:nvSpPr>
          <p:spPr>
            <a:xfrm>
              <a:off x="5909577" y="2196192"/>
              <a:ext cx="591682" cy="25614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1" u="none" strike="noStrike" kern="1200" cap="none" spc="0" normalizeH="0" baseline="0" noProof="0">
                  <a:ln>
                    <a:noFill/>
                  </a:ln>
                  <a:solidFill>
                    <a:srgbClr val="246CA8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itchFamily="34" charset="0"/>
                </a:rPr>
                <a:t>2013</a:t>
              </a:r>
              <a:endPara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246CA8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cxnSp>
          <p:nvCxnSpPr>
            <p:cNvPr id="10" name="Straight Connector 162">
              <a:extLst>
                <a:ext uri="{FF2B5EF4-FFF2-40B4-BE49-F238E27FC236}">
                  <a16:creationId xmlns:a16="http://schemas.microsoft.com/office/drawing/2014/main" id="{5E3781EA-A9DA-ACFE-7810-09F952D7F44E}"/>
                </a:ext>
              </a:extLst>
            </p:cNvPr>
            <p:cNvCxnSpPr/>
            <p:nvPr/>
          </p:nvCxnSpPr>
          <p:spPr>
            <a:xfrm>
              <a:off x="6567327" y="621824"/>
              <a:ext cx="0" cy="512627"/>
            </a:xfrm>
            <a:prstGeom prst="line">
              <a:avLst/>
            </a:prstGeom>
            <a:ln w="1905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Oval 163">
              <a:extLst>
                <a:ext uri="{FF2B5EF4-FFF2-40B4-BE49-F238E27FC236}">
                  <a16:creationId xmlns:a16="http://schemas.microsoft.com/office/drawing/2014/main" id="{E09DEA20-2ECF-5FD3-B9C7-8856BE339193}"/>
                </a:ext>
              </a:extLst>
            </p:cNvPr>
            <p:cNvSpPr/>
            <p:nvPr/>
          </p:nvSpPr>
          <p:spPr>
            <a:xfrm>
              <a:off x="5813415" y="824137"/>
              <a:ext cx="108000" cy="108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12" name="Rectangle 164">
              <a:extLst>
                <a:ext uri="{FF2B5EF4-FFF2-40B4-BE49-F238E27FC236}">
                  <a16:creationId xmlns:a16="http://schemas.microsoft.com/office/drawing/2014/main" id="{51724ED4-F1AE-4579-0F1E-529F52549F31}"/>
                </a:ext>
              </a:extLst>
            </p:cNvPr>
            <p:cNvSpPr/>
            <p:nvPr/>
          </p:nvSpPr>
          <p:spPr>
            <a:xfrm>
              <a:off x="5903497" y="895717"/>
              <a:ext cx="591682" cy="25614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1" u="none" strike="noStrike" kern="1200" cap="none" spc="0" normalizeH="0" baseline="0" noProof="0">
                  <a:ln>
                    <a:noFill/>
                  </a:ln>
                  <a:solidFill>
                    <a:srgbClr val="246CA8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itchFamily="34" charset="0"/>
                </a:rPr>
                <a:t>2009</a:t>
              </a:r>
              <a:endPara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246CA8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cxnSp>
          <p:nvCxnSpPr>
            <p:cNvPr id="13" name="Straight Connector 157">
              <a:extLst>
                <a:ext uri="{FF2B5EF4-FFF2-40B4-BE49-F238E27FC236}">
                  <a16:creationId xmlns:a16="http://schemas.microsoft.com/office/drawing/2014/main" id="{08DE98B8-EC5D-1F33-D02B-D90E2F24E530}"/>
                </a:ext>
              </a:extLst>
            </p:cNvPr>
            <p:cNvCxnSpPr/>
            <p:nvPr/>
          </p:nvCxnSpPr>
          <p:spPr>
            <a:xfrm>
              <a:off x="6891419" y="3444560"/>
              <a:ext cx="0" cy="512627"/>
            </a:xfrm>
            <a:prstGeom prst="line">
              <a:avLst/>
            </a:prstGeom>
            <a:ln w="1905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158">
              <a:extLst>
                <a:ext uri="{FF2B5EF4-FFF2-40B4-BE49-F238E27FC236}">
                  <a16:creationId xmlns:a16="http://schemas.microsoft.com/office/drawing/2014/main" id="{A8C6B6D7-B872-5341-E4C5-B0D1A21D2AA4}"/>
                </a:ext>
              </a:extLst>
            </p:cNvPr>
            <p:cNvSpPr/>
            <p:nvPr/>
          </p:nvSpPr>
          <p:spPr>
            <a:xfrm>
              <a:off x="5812418" y="3646874"/>
              <a:ext cx="108000" cy="108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15" name="Rectangle 159">
              <a:extLst>
                <a:ext uri="{FF2B5EF4-FFF2-40B4-BE49-F238E27FC236}">
                  <a16:creationId xmlns:a16="http://schemas.microsoft.com/office/drawing/2014/main" id="{93FE7617-B7ED-390B-F8A8-7254899520DB}"/>
                </a:ext>
              </a:extLst>
            </p:cNvPr>
            <p:cNvSpPr/>
            <p:nvPr/>
          </p:nvSpPr>
          <p:spPr>
            <a:xfrm>
              <a:off x="5889110" y="3717531"/>
              <a:ext cx="591682" cy="25614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0000" rIns="91440" bIns="9000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600" b="1" i="1">
                  <a:solidFill>
                    <a:srgbClr val="246CA8"/>
                  </a:solidFill>
                  <a:latin typeface="Century Gothic"/>
                  <a:cs typeface="Arial"/>
                </a:rPr>
                <a:t>2022</a:t>
              </a:r>
              <a:endPara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246CA8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16" name="Rectangle 191">
              <a:extLst>
                <a:ext uri="{FF2B5EF4-FFF2-40B4-BE49-F238E27FC236}">
                  <a16:creationId xmlns:a16="http://schemas.microsoft.com/office/drawing/2014/main" id="{A2F0839B-EC0D-697E-1FF6-02012F5AB110}"/>
                </a:ext>
              </a:extLst>
            </p:cNvPr>
            <p:cNvSpPr/>
            <p:nvPr/>
          </p:nvSpPr>
          <p:spPr>
            <a:xfrm>
              <a:off x="5869744" y="5308506"/>
              <a:ext cx="591682" cy="25614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0000" rIns="91440" bIns="9000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600" b="1" i="1">
                  <a:solidFill>
                    <a:srgbClr val="246CA8"/>
                  </a:solidFill>
                  <a:latin typeface="Century Gothic"/>
                  <a:cs typeface="Arial"/>
                </a:rPr>
                <a:t>2023</a:t>
              </a:r>
              <a:endPara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246CA8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cxnSp>
          <p:nvCxnSpPr>
            <p:cNvPr id="17" name="Straight Connector 93">
              <a:extLst>
                <a:ext uri="{FF2B5EF4-FFF2-40B4-BE49-F238E27FC236}">
                  <a16:creationId xmlns:a16="http://schemas.microsoft.com/office/drawing/2014/main" id="{8C98D2E1-6E58-A2C5-2BB3-BA9BDEF067B2}"/>
                </a:ext>
              </a:extLst>
            </p:cNvPr>
            <p:cNvCxnSpPr/>
            <p:nvPr/>
          </p:nvCxnSpPr>
          <p:spPr>
            <a:xfrm>
              <a:off x="7023499" y="5004468"/>
              <a:ext cx="0" cy="512627"/>
            </a:xfrm>
            <a:prstGeom prst="line">
              <a:avLst/>
            </a:prstGeom>
            <a:ln w="1905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94">
              <a:extLst>
                <a:ext uri="{FF2B5EF4-FFF2-40B4-BE49-F238E27FC236}">
                  <a16:creationId xmlns:a16="http://schemas.microsoft.com/office/drawing/2014/main" id="{CE7FB586-2C36-78FF-3FFB-B2D3D01248BF}"/>
                </a:ext>
              </a:extLst>
            </p:cNvPr>
            <p:cNvCxnSpPr>
              <a:cxnSpLocks/>
            </p:cNvCxnSpPr>
            <p:nvPr/>
          </p:nvCxnSpPr>
          <p:spPr>
            <a:xfrm>
              <a:off x="5869744" y="5269517"/>
              <a:ext cx="1153755" cy="0"/>
            </a:xfrm>
            <a:prstGeom prst="line">
              <a:avLst/>
            </a:prstGeom>
            <a:ln w="1905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98">
              <a:extLst>
                <a:ext uri="{FF2B5EF4-FFF2-40B4-BE49-F238E27FC236}">
                  <a16:creationId xmlns:a16="http://schemas.microsoft.com/office/drawing/2014/main" id="{BEBB43B6-AEE9-4254-9554-F4327B47EAAE}"/>
                </a:ext>
              </a:extLst>
            </p:cNvPr>
            <p:cNvSpPr/>
            <p:nvPr/>
          </p:nvSpPr>
          <p:spPr>
            <a:xfrm>
              <a:off x="5817083" y="5215517"/>
              <a:ext cx="108000" cy="108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92673FA1-1B46-ED1E-B711-8DFAEF04D7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76584" y="197866"/>
              <a:ext cx="1965529" cy="1117577"/>
            </a:xfrm>
            <a:prstGeom prst="rect">
              <a:avLst/>
            </a:prstGeom>
          </p:spPr>
        </p:pic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19DACC6B-A1B7-69B8-C56B-982A1847BC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55062" flipH="1">
              <a:off x="6789462" y="1552981"/>
              <a:ext cx="2181642" cy="1126041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2D6C29EE-BA82-36EB-67FF-8F913EE6BC7C}"/>
                </a:ext>
              </a:extLst>
            </p:cNvPr>
            <p:cNvSpPr txBox="1"/>
            <p:nvPr/>
          </p:nvSpPr>
          <p:spPr>
            <a:xfrm>
              <a:off x="9368141" y="503574"/>
              <a:ext cx="2230196" cy="6820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1" i="1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anose="020B0604020202020204" pitchFamily="34" charset="0"/>
                </a:rPr>
                <a:t>FS.01</a:t>
              </a:r>
              <a:br>
                <a:rPr kumimoji="0" lang="cs-CZ" sz="1800" b="1" i="1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anose="020B0604020202020204" pitchFamily="34" charset="0"/>
                </a:rPr>
              </a:br>
              <a:r>
                <a:rPr kumimoji="0" lang="cs-CZ" sz="1600" b="1" i="1" u="none" strike="noStrike" kern="1200" cap="none" spc="0" normalizeH="0" baseline="0" noProof="0">
                  <a:ln>
                    <a:noFill/>
                  </a:ln>
                  <a:solidFill>
                    <a:srgbClr val="808080">
                      <a:lumMod val="7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anose="020B0604020202020204" pitchFamily="34" charset="0"/>
                </a:rPr>
                <a:t>První studentská formule v ČR</a:t>
              </a:r>
            </a:p>
          </p:txBody>
        </p:sp>
        <p:sp>
          <p:nvSpPr>
            <p:cNvPr id="24" name="TextovéPole 23">
              <a:extLst>
                <a:ext uri="{FF2B5EF4-FFF2-40B4-BE49-F238E27FC236}">
                  <a16:creationId xmlns:a16="http://schemas.microsoft.com/office/drawing/2014/main" id="{43693691-9A53-67B1-EA7A-421ED9735415}"/>
                </a:ext>
              </a:extLst>
            </p:cNvPr>
            <p:cNvSpPr txBox="1"/>
            <p:nvPr/>
          </p:nvSpPr>
          <p:spPr>
            <a:xfrm>
              <a:off x="9380479" y="1763423"/>
              <a:ext cx="1706203" cy="90026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kumimoji="0" lang="cs-CZ" sz="1800" b="1" i="1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entury Gothic"/>
                  <a:cs typeface="Arial"/>
                </a:rPr>
                <a:t>FS.05</a:t>
              </a:r>
              <a:br>
                <a:rPr lang="cs-CZ" sz="1800" b="1" i="1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  <a:cs typeface="Arial" panose="020B0604020202020204" pitchFamily="34" charset="0"/>
                </a:rPr>
              </a:br>
              <a:r>
                <a:rPr kumimoji="0" lang="cs-CZ" sz="1600" b="1" i="1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Century Gothic"/>
                  <a:cs typeface="Arial"/>
                </a:rPr>
                <a:t>První kompozitní </a:t>
              </a:r>
              <a:br>
                <a:rPr lang="cs-CZ" sz="1600" b="1" i="1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  <a:cs typeface="Arial" panose="020B0604020202020204" pitchFamily="34" charset="0"/>
                </a:rPr>
              </a:br>
              <a:r>
                <a:rPr kumimoji="0" lang="cs-CZ" sz="1600" b="1" i="1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Century Gothic"/>
                  <a:cs typeface="Arial"/>
                </a:rPr>
                <a:t>uhlíkový </a:t>
              </a:r>
              <a:r>
                <a:rPr kumimoji="0" lang="cs-CZ" sz="1600" b="1" i="1" u="none" strike="noStrike" kern="1200" cap="none" spc="0" normalizeH="0" baseline="0" noProof="0" err="1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Century Gothic"/>
                  <a:cs typeface="Arial"/>
                </a:rPr>
                <a:t>monokok</a:t>
              </a:r>
              <a:r>
                <a:rPr lang="cs-CZ" sz="1600" b="1" i="1">
                  <a:solidFill>
                    <a:srgbClr val="808080"/>
                  </a:solidFill>
                  <a:latin typeface="Century Gothic"/>
                  <a:cs typeface="Arial"/>
                </a:rPr>
                <a:t> v ČR</a:t>
              </a:r>
              <a:endParaRPr kumimoji="0" lang="cs-CZ" sz="1600" b="1" i="1" u="none" strike="noStrike" kern="1200" cap="none" spc="0" normalizeH="0" baseline="0" noProof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ovéPole 24">
              <a:extLst>
                <a:ext uri="{FF2B5EF4-FFF2-40B4-BE49-F238E27FC236}">
                  <a16:creationId xmlns:a16="http://schemas.microsoft.com/office/drawing/2014/main" id="{1BEB275E-4BAA-FC96-922E-C156D9825881}"/>
                </a:ext>
              </a:extLst>
            </p:cNvPr>
            <p:cNvSpPr txBox="1"/>
            <p:nvPr/>
          </p:nvSpPr>
          <p:spPr>
            <a:xfrm>
              <a:off x="9368141" y="3170034"/>
              <a:ext cx="1700606" cy="122157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kumimoji="0" lang="cs-CZ" b="1" i="1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entury Gothic"/>
                  <a:cs typeface="Arial"/>
                </a:rPr>
                <a:t>FS.</a:t>
              </a:r>
              <a:r>
                <a:rPr lang="cs-CZ" b="1" i="1">
                  <a:solidFill>
                    <a:srgbClr val="C00000"/>
                  </a:solidFill>
                  <a:latin typeface="Century Gothic"/>
                  <a:cs typeface="Arial"/>
                </a:rPr>
                <a:t>14</a:t>
              </a:r>
              <a:br>
                <a:rPr lang="cs-CZ" b="1" i="1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  <a:cs typeface="Arial" panose="020B0604020202020204" pitchFamily="34" charset="0"/>
                </a:rPr>
              </a:br>
              <a:r>
                <a:rPr kumimoji="0" lang="cs-CZ" sz="1600" b="1" i="1" u="none" strike="noStrike" kern="120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entury Gothic"/>
                  <a:cs typeface="Arial"/>
                </a:rPr>
                <a:t>První </a:t>
              </a:r>
              <a:r>
                <a:rPr lang="cs-CZ" sz="1600" b="1" i="1">
                  <a:solidFill>
                    <a:srgbClr val="606060"/>
                  </a:solidFill>
                  <a:latin typeface="Century Gothic"/>
                  <a:cs typeface="Arial"/>
                </a:rPr>
                <a:t>hybridní  monopost v soutěži FS</a:t>
              </a:r>
              <a:endParaRPr lang="cs-CZ" sz="1600">
                <a:solidFill>
                  <a:srgbClr val="606060"/>
                </a:solidFill>
                <a:latin typeface="Century Gothic"/>
                <a:cs typeface="Arial"/>
              </a:endParaRPr>
            </a:p>
            <a:p>
              <a:pPr marL="0" marR="0" lvl="0" indent="0" algn="l" defTabSz="91440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cs-CZ" b="1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/>
                <a:cs typeface="Arial"/>
              </a:endParaRPr>
            </a:p>
          </p:txBody>
        </p:sp>
        <p:sp>
          <p:nvSpPr>
            <p:cNvPr id="26" name="TextovéPole 25">
              <a:extLst>
                <a:ext uri="{FF2B5EF4-FFF2-40B4-BE49-F238E27FC236}">
                  <a16:creationId xmlns:a16="http://schemas.microsoft.com/office/drawing/2014/main" id="{169319AD-3917-E26D-5CC6-48213B2D999F}"/>
                </a:ext>
              </a:extLst>
            </p:cNvPr>
            <p:cNvSpPr txBox="1"/>
            <p:nvPr/>
          </p:nvSpPr>
          <p:spPr>
            <a:xfrm>
              <a:off x="9340254" y="4699760"/>
              <a:ext cx="1748147" cy="133676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kumimoji="0" lang="cs-CZ" sz="1800" b="1" i="1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entury Gothic"/>
                  <a:cs typeface="Arial"/>
                </a:rPr>
                <a:t>FS.</a:t>
              </a:r>
              <a:r>
                <a:rPr lang="cs-CZ" b="1" i="1">
                  <a:solidFill>
                    <a:srgbClr val="C00000"/>
                  </a:solidFill>
                  <a:latin typeface="Century Gothic"/>
                  <a:cs typeface="Arial"/>
                </a:rPr>
                <a:t>15</a:t>
              </a:r>
              <a:br>
                <a:rPr lang="cs-CZ" sz="1800" b="1" i="1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  <a:cs typeface="Arial" panose="020B0604020202020204" pitchFamily="34" charset="0"/>
                </a:rPr>
              </a:br>
              <a:r>
                <a:rPr lang="cs-CZ" sz="1600" b="1" i="1">
                  <a:solidFill>
                    <a:srgbClr val="606060"/>
                  </a:solidFill>
                  <a:latin typeface="Century Gothic"/>
                  <a:cs typeface="Arial"/>
                </a:rPr>
                <a:t>Nejúspěšnější monopost v historii týmu a v soutěži FS v sezóně 23</a:t>
              </a:r>
              <a:endParaRPr lang="cs-CZ" sz="1600" b="1" i="1" u="none" strike="noStrike" kern="120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entury Gothic"/>
                <a:cs typeface="Arial"/>
              </a:endParaRPr>
            </a:p>
          </p:txBody>
        </p:sp>
        <p:pic>
          <p:nvPicPr>
            <p:cNvPr id="27" name="Obrázek 26" descr="Obsah obrázku tráva, hora, exteriér&#10;&#10;Popis byl vytvořen automaticky">
              <a:extLst>
                <a:ext uri="{FF2B5EF4-FFF2-40B4-BE49-F238E27FC236}">
                  <a16:creationId xmlns:a16="http://schemas.microsoft.com/office/drawing/2014/main" id="{7D133E20-94E1-9257-63EC-897B0DD549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50202" b="68457" l="26346" r="52718">
                          <a14:foregroundMark x1="43978" y1="63073" x2="34584" y2="61864"/>
                          <a14:foregroundMark x1="34584" y1="61864" x2="34584" y2="61864"/>
                          <a14:foregroundMark x1="28902" y1="54294" x2="28393" y2="58556"/>
                          <a14:foregroundMark x1="36047" y1="59733" x2="35560" y2="52417"/>
                          <a14:foregroundMark x1="35560" y1="52417" x2="35560" y2="52417"/>
                          <a14:foregroundMark x1="35687" y1="53117" x2="33694" y2="56170"/>
                          <a14:foregroundMark x1="33694" y1="56170" x2="33694" y2="56170"/>
                          <a14:foregroundMark x1="26696" y1="65140" x2="35941" y2="61578"/>
                          <a14:foregroundMark x1="35941" y1="61578" x2="34139" y2="62118"/>
                          <a14:foregroundMark x1="51463" y1="66858" x2="45102" y2="65649"/>
                          <a14:foregroundMark x1="45102" y1="65649" x2="43172" y2="65808"/>
                          <a14:foregroundMark x1="43172" y1="65808" x2="41306" y2="66762"/>
                          <a14:foregroundMark x1="41306" y1="66762" x2="38338" y2="66985"/>
                          <a14:foregroundMark x1="38338" y1="66985" x2="36408" y2="66698"/>
                          <a14:foregroundMark x1="36408" y1="66698" x2="35263" y2="68003"/>
                          <a14:foregroundMark x1="35263" y1="68003" x2="33079" y2="67366"/>
                          <a14:foregroundMark x1="26930" y1="57379" x2="26484" y2="53817"/>
                          <a14:foregroundMark x1="26484" y1="53817" x2="26887" y2="51559"/>
                          <a14:foregroundMark x1="26887" y1="51559" x2="35793" y2="50763"/>
                          <a14:foregroundMark x1="35793" y1="50763" x2="37023" y2="52608"/>
                          <a14:foregroundMark x1="37023" y1="52608" x2="36726" y2="53149"/>
                          <a14:foregroundMark x1="36535" y1="50286" x2="35687" y2="50223"/>
                          <a14:foregroundMark x1="52248" y1="67875" x2="52735" y2="67716"/>
                          <a14:foregroundMark x1="26346" y1="67286" x2="26507" y2="64499"/>
                          <a14:foregroundMark x1="26453" y1="56018" x2="26534" y2="5141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352" t="48339" r="46915" b="29201"/>
            <a:stretch/>
          </p:blipFill>
          <p:spPr>
            <a:xfrm flipH="1">
              <a:off x="6975323" y="3058021"/>
              <a:ext cx="2348808" cy="1224000"/>
            </a:xfrm>
            <a:prstGeom prst="rect">
              <a:avLst/>
            </a:prstGeom>
          </p:spPr>
        </p:pic>
        <p:cxnSp>
          <p:nvCxnSpPr>
            <p:cNvPr id="28" name="Straight Connector 166">
              <a:extLst>
                <a:ext uri="{FF2B5EF4-FFF2-40B4-BE49-F238E27FC236}">
                  <a16:creationId xmlns:a16="http://schemas.microsoft.com/office/drawing/2014/main" id="{A4795FE0-2595-879C-D859-AF4929FF5F80}"/>
                </a:ext>
              </a:extLst>
            </p:cNvPr>
            <p:cNvCxnSpPr>
              <a:cxnSpLocks/>
            </p:cNvCxnSpPr>
            <p:nvPr/>
          </p:nvCxnSpPr>
          <p:spPr>
            <a:xfrm>
              <a:off x="3878287" y="2136466"/>
              <a:ext cx="815202" cy="0"/>
            </a:xfrm>
            <a:prstGeom prst="line">
              <a:avLst/>
            </a:prstGeom>
            <a:ln w="19050" cap="rnd">
              <a:solidFill>
                <a:srgbClr val="FE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156">
              <a:extLst>
                <a:ext uri="{FF2B5EF4-FFF2-40B4-BE49-F238E27FC236}">
                  <a16:creationId xmlns:a16="http://schemas.microsoft.com/office/drawing/2014/main" id="{49D0995B-ED73-4E4F-5CE2-DC15FD9A4431}"/>
                </a:ext>
              </a:extLst>
            </p:cNvPr>
            <p:cNvCxnSpPr>
              <a:cxnSpLocks/>
            </p:cNvCxnSpPr>
            <p:nvPr/>
          </p:nvCxnSpPr>
          <p:spPr>
            <a:xfrm>
              <a:off x="3671814" y="3663531"/>
              <a:ext cx="1021675" cy="0"/>
            </a:xfrm>
            <a:prstGeom prst="line">
              <a:avLst/>
            </a:prstGeom>
            <a:ln w="19050" cap="rnd">
              <a:solidFill>
                <a:srgbClr val="FE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67">
              <a:extLst>
                <a:ext uri="{FF2B5EF4-FFF2-40B4-BE49-F238E27FC236}">
                  <a16:creationId xmlns:a16="http://schemas.microsoft.com/office/drawing/2014/main" id="{4558CC96-C098-7EB4-F298-784F67A7C969}"/>
                </a:ext>
              </a:extLst>
            </p:cNvPr>
            <p:cNvCxnSpPr/>
            <p:nvPr/>
          </p:nvCxnSpPr>
          <p:spPr>
            <a:xfrm>
              <a:off x="3863348" y="1898203"/>
              <a:ext cx="0" cy="512627"/>
            </a:xfrm>
            <a:prstGeom prst="line">
              <a:avLst/>
            </a:prstGeom>
            <a:ln w="19050" cap="rnd">
              <a:solidFill>
                <a:srgbClr val="FE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169">
              <a:extLst>
                <a:ext uri="{FF2B5EF4-FFF2-40B4-BE49-F238E27FC236}">
                  <a16:creationId xmlns:a16="http://schemas.microsoft.com/office/drawing/2014/main" id="{AE19283B-F66C-94C9-DFF3-C95D961B5BCF}"/>
                </a:ext>
              </a:extLst>
            </p:cNvPr>
            <p:cNvSpPr/>
            <p:nvPr/>
          </p:nvSpPr>
          <p:spPr>
            <a:xfrm>
              <a:off x="4063224" y="2196192"/>
              <a:ext cx="591682" cy="25614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1" u="none" strike="noStrike" kern="1200" cap="none" spc="0" normalizeH="0" baseline="0" noProof="0">
                  <a:ln>
                    <a:noFill/>
                  </a:ln>
                  <a:solidFill>
                    <a:srgbClr val="FE6600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itchFamily="34" charset="0"/>
                </a:rPr>
                <a:t>2015</a:t>
              </a:r>
              <a:endPara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FE66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cxnSp>
          <p:nvCxnSpPr>
            <p:cNvPr id="35" name="Straight Connector 162">
              <a:extLst>
                <a:ext uri="{FF2B5EF4-FFF2-40B4-BE49-F238E27FC236}">
                  <a16:creationId xmlns:a16="http://schemas.microsoft.com/office/drawing/2014/main" id="{DDAA618E-BEB6-D140-64CB-EAC46799964E}"/>
                </a:ext>
              </a:extLst>
            </p:cNvPr>
            <p:cNvCxnSpPr/>
            <p:nvPr/>
          </p:nvCxnSpPr>
          <p:spPr>
            <a:xfrm>
              <a:off x="4080332" y="595310"/>
              <a:ext cx="0" cy="512627"/>
            </a:xfrm>
            <a:prstGeom prst="line">
              <a:avLst/>
            </a:prstGeom>
            <a:ln w="19050" cap="rnd">
              <a:solidFill>
                <a:srgbClr val="FE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164">
              <a:extLst>
                <a:ext uri="{FF2B5EF4-FFF2-40B4-BE49-F238E27FC236}">
                  <a16:creationId xmlns:a16="http://schemas.microsoft.com/office/drawing/2014/main" id="{8069F440-CC5C-8C7E-94CC-C050B51B5230}"/>
                </a:ext>
              </a:extLst>
            </p:cNvPr>
            <p:cNvSpPr/>
            <p:nvPr/>
          </p:nvSpPr>
          <p:spPr>
            <a:xfrm>
              <a:off x="4098250" y="870632"/>
              <a:ext cx="591682" cy="25614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1" u="none" strike="noStrike" kern="1200" cap="none" spc="0" normalizeH="0" baseline="0" noProof="0">
                  <a:ln>
                    <a:noFill/>
                  </a:ln>
                  <a:solidFill>
                    <a:srgbClr val="FE6600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itchFamily="34" charset="0"/>
                </a:rPr>
                <a:t>2012</a:t>
              </a:r>
              <a:endPara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FE66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cxnSp>
          <p:nvCxnSpPr>
            <p:cNvPr id="38" name="Straight Connector 157">
              <a:extLst>
                <a:ext uri="{FF2B5EF4-FFF2-40B4-BE49-F238E27FC236}">
                  <a16:creationId xmlns:a16="http://schemas.microsoft.com/office/drawing/2014/main" id="{B38A3459-CA37-2C42-42FE-10D7B0C751A6}"/>
                </a:ext>
              </a:extLst>
            </p:cNvPr>
            <p:cNvCxnSpPr/>
            <p:nvPr/>
          </p:nvCxnSpPr>
          <p:spPr>
            <a:xfrm>
              <a:off x="3672154" y="3429000"/>
              <a:ext cx="0" cy="512627"/>
            </a:xfrm>
            <a:prstGeom prst="line">
              <a:avLst/>
            </a:prstGeom>
            <a:ln w="19050" cap="rnd">
              <a:solidFill>
                <a:srgbClr val="FE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159">
              <a:extLst>
                <a:ext uri="{FF2B5EF4-FFF2-40B4-BE49-F238E27FC236}">
                  <a16:creationId xmlns:a16="http://schemas.microsoft.com/office/drawing/2014/main" id="{10E2B428-4762-0F01-3A67-CD9E6722E255}"/>
                </a:ext>
              </a:extLst>
            </p:cNvPr>
            <p:cNvSpPr/>
            <p:nvPr/>
          </p:nvSpPr>
          <p:spPr>
            <a:xfrm>
              <a:off x="4068860" y="3719509"/>
              <a:ext cx="591682" cy="25614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1" u="none" strike="noStrike" kern="1200" cap="none" spc="0" normalizeH="0" baseline="0" noProof="0">
                  <a:ln>
                    <a:noFill/>
                  </a:ln>
                  <a:solidFill>
                    <a:srgbClr val="FE6600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itchFamily="34" charset="0"/>
                </a:rPr>
                <a:t>2019</a:t>
              </a:r>
              <a:endPara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FE66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41" name="Rectangle 191">
              <a:extLst>
                <a:ext uri="{FF2B5EF4-FFF2-40B4-BE49-F238E27FC236}">
                  <a16:creationId xmlns:a16="http://schemas.microsoft.com/office/drawing/2014/main" id="{56710D86-1A0A-7CC6-42A5-B963E8977F97}"/>
                </a:ext>
              </a:extLst>
            </p:cNvPr>
            <p:cNvSpPr/>
            <p:nvPr/>
          </p:nvSpPr>
          <p:spPr>
            <a:xfrm>
              <a:off x="4090758" y="5308506"/>
              <a:ext cx="591682" cy="25614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1" u="none" strike="noStrike" kern="1200" cap="none" spc="0" normalizeH="0" baseline="0" noProof="0">
                  <a:ln>
                    <a:noFill/>
                  </a:ln>
                  <a:solidFill>
                    <a:srgbClr val="FE6600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/>
                </a:rPr>
                <a:t>2022</a:t>
              </a:r>
              <a:endPara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FE66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cxnSp>
          <p:nvCxnSpPr>
            <p:cNvPr id="42" name="Straight Connector 93">
              <a:extLst>
                <a:ext uri="{FF2B5EF4-FFF2-40B4-BE49-F238E27FC236}">
                  <a16:creationId xmlns:a16="http://schemas.microsoft.com/office/drawing/2014/main" id="{3FC75ADF-4BCE-1419-DBD4-B72607F47B07}"/>
                </a:ext>
              </a:extLst>
            </p:cNvPr>
            <p:cNvCxnSpPr/>
            <p:nvPr/>
          </p:nvCxnSpPr>
          <p:spPr>
            <a:xfrm>
              <a:off x="3539734" y="4959203"/>
              <a:ext cx="0" cy="512627"/>
            </a:xfrm>
            <a:prstGeom prst="line">
              <a:avLst/>
            </a:prstGeom>
            <a:ln w="19050" cap="rnd">
              <a:solidFill>
                <a:srgbClr val="FE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94">
              <a:extLst>
                <a:ext uri="{FF2B5EF4-FFF2-40B4-BE49-F238E27FC236}">
                  <a16:creationId xmlns:a16="http://schemas.microsoft.com/office/drawing/2014/main" id="{F8F639A1-A0CA-1BDC-DE0A-79F35A7082B8}"/>
                </a:ext>
              </a:extLst>
            </p:cNvPr>
            <p:cNvCxnSpPr>
              <a:cxnSpLocks/>
            </p:cNvCxnSpPr>
            <p:nvPr/>
          </p:nvCxnSpPr>
          <p:spPr>
            <a:xfrm>
              <a:off x="3539734" y="5215517"/>
              <a:ext cx="1153755" cy="0"/>
            </a:xfrm>
            <a:prstGeom prst="line">
              <a:avLst/>
            </a:prstGeom>
            <a:ln w="19050" cap="rnd">
              <a:solidFill>
                <a:srgbClr val="FE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7" name="Obrázek 4">
              <a:extLst>
                <a:ext uri="{FF2B5EF4-FFF2-40B4-BE49-F238E27FC236}">
                  <a16:creationId xmlns:a16="http://schemas.microsoft.com/office/drawing/2014/main" id="{B45391ED-3CB2-651C-AB9B-2A25429D39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1346"/>
            <a:stretch/>
          </p:blipFill>
          <p:spPr>
            <a:xfrm>
              <a:off x="1602818" y="334052"/>
              <a:ext cx="2239022" cy="1212062"/>
            </a:xfrm>
            <a:prstGeom prst="rect">
              <a:avLst/>
            </a:prstGeom>
          </p:spPr>
        </p:pic>
        <p:pic>
          <p:nvPicPr>
            <p:cNvPr id="48" name="Obrázek 3">
              <a:extLst>
                <a:ext uri="{FF2B5EF4-FFF2-40B4-BE49-F238E27FC236}">
                  <a16:creationId xmlns:a16="http://schemas.microsoft.com/office/drawing/2014/main" id="{F0D11A7F-53E7-C15A-B58A-BA8EAB8BD5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9650" r="15341"/>
            <a:stretch/>
          </p:blipFill>
          <p:spPr>
            <a:xfrm>
              <a:off x="1646597" y="1569514"/>
              <a:ext cx="1918120" cy="1258889"/>
            </a:xfrm>
            <a:prstGeom prst="rect">
              <a:avLst/>
            </a:prstGeom>
          </p:spPr>
        </p:pic>
        <p:pic>
          <p:nvPicPr>
            <p:cNvPr id="55" name="Obrázek 54">
              <a:extLst>
                <a:ext uri="{FF2B5EF4-FFF2-40B4-BE49-F238E27FC236}">
                  <a16:creationId xmlns:a16="http://schemas.microsoft.com/office/drawing/2014/main" id="{1D18AD31-3B9A-FEF1-247A-2544DDC7B3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9602" t="35737" r="23151" b="29045"/>
            <a:stretch/>
          </p:blipFill>
          <p:spPr>
            <a:xfrm>
              <a:off x="641592" y="4589813"/>
              <a:ext cx="2752894" cy="1128808"/>
            </a:xfrm>
            <a:prstGeom prst="rect">
              <a:avLst/>
            </a:prstGeom>
          </p:spPr>
        </p:pic>
        <p:sp>
          <p:nvSpPr>
            <p:cNvPr id="57" name="Oval 163">
              <a:extLst>
                <a:ext uri="{FF2B5EF4-FFF2-40B4-BE49-F238E27FC236}">
                  <a16:creationId xmlns:a16="http://schemas.microsoft.com/office/drawing/2014/main" id="{8CBED3BD-D575-6F92-9955-0E4F3AD38DEA}"/>
                </a:ext>
              </a:extLst>
            </p:cNvPr>
            <p:cNvSpPr/>
            <p:nvPr/>
          </p:nvSpPr>
          <p:spPr>
            <a:xfrm>
              <a:off x="4689932" y="769634"/>
              <a:ext cx="108000" cy="108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E66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58" name="Oval 163">
              <a:extLst>
                <a:ext uri="{FF2B5EF4-FFF2-40B4-BE49-F238E27FC236}">
                  <a16:creationId xmlns:a16="http://schemas.microsoft.com/office/drawing/2014/main" id="{0180BA45-81B1-1043-CAB8-26C5A44B05DE}"/>
                </a:ext>
              </a:extLst>
            </p:cNvPr>
            <p:cNvSpPr/>
            <p:nvPr/>
          </p:nvSpPr>
          <p:spPr>
            <a:xfrm>
              <a:off x="4699103" y="2082466"/>
              <a:ext cx="108000" cy="108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E66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59" name="Oval 163">
              <a:extLst>
                <a:ext uri="{FF2B5EF4-FFF2-40B4-BE49-F238E27FC236}">
                  <a16:creationId xmlns:a16="http://schemas.microsoft.com/office/drawing/2014/main" id="{D56BCB44-996B-B5AB-12F5-DE38E4E5EFA7}"/>
                </a:ext>
              </a:extLst>
            </p:cNvPr>
            <p:cNvSpPr/>
            <p:nvPr/>
          </p:nvSpPr>
          <p:spPr>
            <a:xfrm>
              <a:off x="4698154" y="3598592"/>
              <a:ext cx="108000" cy="108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E66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60" name="Oval 163">
              <a:extLst>
                <a:ext uri="{FF2B5EF4-FFF2-40B4-BE49-F238E27FC236}">
                  <a16:creationId xmlns:a16="http://schemas.microsoft.com/office/drawing/2014/main" id="{FF6243F6-0C3E-BBA9-CE40-917180158F87}"/>
                </a:ext>
              </a:extLst>
            </p:cNvPr>
            <p:cNvSpPr/>
            <p:nvPr/>
          </p:nvSpPr>
          <p:spPr>
            <a:xfrm>
              <a:off x="4698154" y="5168717"/>
              <a:ext cx="108000" cy="108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E66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</p:grpSp>
      <p:sp>
        <p:nvSpPr>
          <p:cNvPr id="64" name="TextovéPole 63">
            <a:extLst>
              <a:ext uri="{FF2B5EF4-FFF2-40B4-BE49-F238E27FC236}">
                <a16:creationId xmlns:a16="http://schemas.microsoft.com/office/drawing/2014/main" id="{316A3799-D6B6-5D30-57A4-09A521C12229}"/>
              </a:ext>
            </a:extLst>
          </p:cNvPr>
          <p:cNvSpPr txBox="1"/>
          <p:nvPr/>
        </p:nvSpPr>
        <p:spPr>
          <a:xfrm>
            <a:off x="89125" y="689625"/>
            <a:ext cx="1750396" cy="6924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r">
              <a:lnSpc>
                <a:spcPct val="90000"/>
              </a:lnSpc>
              <a:spcAft>
                <a:spcPts val="600"/>
              </a:spcAft>
              <a:defRPr/>
            </a:pPr>
            <a:r>
              <a:rPr kumimoji="0" lang="cs-CZ" sz="1800" b="1" i="1" u="none" strike="noStrike" kern="1200" cap="none" spc="0" normalizeH="0" baseline="0" noProof="0">
                <a:ln>
                  <a:noFill/>
                </a:ln>
                <a:solidFill>
                  <a:srgbClr val="FE66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FSE.01</a:t>
            </a:r>
            <a:br>
              <a:rPr kumimoji="0" lang="cs-CZ" sz="18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kumimoji="0" lang="cs-CZ" sz="1600" b="1" i="1" u="none" strike="noStrike" kern="1200" cap="none" spc="0" normalizeH="0" baseline="0" noProof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První elektrický monopost</a:t>
            </a:r>
            <a:r>
              <a:rPr lang="cs-CZ" sz="1600" b="1" i="1">
                <a:solidFill>
                  <a:srgbClr val="808080">
                    <a:lumMod val="75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cs-CZ" sz="1600" b="1" i="1" u="none" strike="noStrike" kern="1200" cap="none" spc="0" normalizeH="0" baseline="0" noProof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v ČR</a:t>
            </a:r>
          </a:p>
        </p:txBody>
      </p: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47159DE8-8157-E4DF-23D8-330D8B073AC8}"/>
              </a:ext>
            </a:extLst>
          </p:cNvPr>
          <p:cNvSpPr txBox="1"/>
          <p:nvPr/>
        </p:nvSpPr>
        <p:spPr>
          <a:xfrm>
            <a:off x="13680" y="1928998"/>
            <a:ext cx="1750396" cy="4708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r">
              <a:lnSpc>
                <a:spcPct val="90000"/>
              </a:lnSpc>
              <a:spcAft>
                <a:spcPts val="600"/>
              </a:spcAft>
              <a:defRPr/>
            </a:pPr>
            <a:r>
              <a:rPr kumimoji="0" lang="cs-CZ" sz="1800" b="1" i="1" u="none" strike="noStrike" kern="1200" cap="none" spc="0" normalizeH="0" baseline="0" noProof="0">
                <a:ln>
                  <a:noFill/>
                </a:ln>
                <a:solidFill>
                  <a:srgbClr val="FE66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FSE.04</a:t>
            </a:r>
            <a:br>
              <a:rPr kumimoji="0" lang="cs-CZ" sz="18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kumimoji="0" lang="cs-CZ" sz="1600" b="1" i="1" u="none" strike="noStrike" kern="1200" cap="none" spc="0" normalizeH="0" baseline="0" noProof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Pohon 4x4</a:t>
            </a:r>
          </a:p>
        </p:txBody>
      </p:sp>
      <p:sp>
        <p:nvSpPr>
          <p:cNvPr id="66" name="TextovéPole 65">
            <a:extLst>
              <a:ext uri="{FF2B5EF4-FFF2-40B4-BE49-F238E27FC236}">
                <a16:creationId xmlns:a16="http://schemas.microsoft.com/office/drawing/2014/main" id="{9DAB9CAD-7FF0-97C2-3FE8-77EF78759DA0}"/>
              </a:ext>
            </a:extLst>
          </p:cNvPr>
          <p:cNvSpPr txBox="1"/>
          <p:nvPr/>
        </p:nvSpPr>
        <p:spPr>
          <a:xfrm>
            <a:off x="232277" y="3206631"/>
            <a:ext cx="1531799" cy="9140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r>
              <a:rPr lang="cs-CZ" b="1" i="1">
                <a:solidFill>
                  <a:srgbClr val="FE6600"/>
                </a:solidFill>
                <a:latin typeface="Century Gothic"/>
                <a:cs typeface="Arial"/>
              </a:rPr>
              <a:t>DV.01</a:t>
            </a:r>
            <a:br>
              <a:rPr lang="cs-CZ" sz="1800" b="1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kumimoji="0" lang="cs-CZ" sz="1600" b="1" i="1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/>
                <a:cs typeface="Arial"/>
              </a:rPr>
              <a:t>První </a:t>
            </a:r>
            <a:r>
              <a:rPr lang="cs-CZ" sz="1600" b="1" i="1">
                <a:solidFill>
                  <a:srgbClr val="808080"/>
                </a:solidFill>
                <a:latin typeface="Century Gothic"/>
                <a:cs typeface="Arial"/>
              </a:rPr>
              <a:t>autonomní formule v ČR</a:t>
            </a:r>
            <a:endParaRPr lang="cs-CZ" sz="1600" b="1" i="1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981E0E9B-014D-98EF-687D-6F42E06F0D38}"/>
              </a:ext>
            </a:extLst>
          </p:cNvPr>
          <p:cNvSpPr txBox="1"/>
          <p:nvPr/>
        </p:nvSpPr>
        <p:spPr>
          <a:xfrm>
            <a:off x="200041" y="4662031"/>
            <a:ext cx="1531799" cy="9140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r>
              <a:rPr kumimoji="0" lang="cs-CZ" sz="1800" b="1" i="1" u="none" strike="noStrike" kern="1200" cap="none" spc="0" normalizeH="0" baseline="0" noProof="0">
                <a:ln>
                  <a:noFill/>
                </a:ln>
                <a:solidFill>
                  <a:srgbClr val="FE66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FSE.12</a:t>
            </a:r>
            <a:br>
              <a:rPr lang="cs-CZ" sz="1800" b="1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kumimoji="0" lang="cs-CZ" sz="1600" b="1" i="1" u="none" strike="noStrike" kern="120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Spojení</a:t>
            </a:r>
            <a:r>
              <a:rPr lang="cs-CZ" sz="1600" b="1" i="1">
                <a:solidFill>
                  <a:srgbClr val="606060"/>
                </a:solidFill>
                <a:latin typeface="Century Gothic" panose="020B0502020202020204" pitchFamily="34" charset="0"/>
                <a:cs typeface="Arial"/>
              </a:rPr>
              <a:t> </a:t>
            </a:r>
            <a:r>
              <a:rPr kumimoji="0" lang="cs-CZ" sz="1600" b="1" i="1" u="none" strike="noStrike" kern="120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</a:rPr>
              <a:t> DV a</a:t>
            </a:r>
            <a:r>
              <a:rPr lang="cs-CZ" sz="1600" b="1" i="1">
                <a:solidFill>
                  <a:srgbClr val="606060"/>
                </a:solidFill>
                <a:latin typeface="Century Gothic" panose="020B0502020202020204" pitchFamily="34" charset="0"/>
                <a:cs typeface="Arial"/>
              </a:rPr>
              <a:t> EV do jednoho monopostu </a:t>
            </a:r>
            <a:endParaRPr kumimoji="0" lang="cs-CZ" sz="1600" b="1" i="1" u="none" strike="noStrike" kern="1200" cap="none" spc="0" normalizeH="0" baseline="0" noProof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Obrázek 35" descr="Obsah obrázku kolo, přeprava, vozidlo, pneumatika&#10;&#10;Popis se vygeneroval automaticky.">
            <a:extLst>
              <a:ext uri="{FF2B5EF4-FFF2-40B4-BE49-F238E27FC236}">
                <a16:creationId xmlns:a16="http://schemas.microsoft.com/office/drawing/2014/main" id="{78280B3F-B7FC-1D9E-8FEA-6A1A502CB70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72208" y="2512424"/>
            <a:ext cx="3690731" cy="2462630"/>
          </a:xfrm>
          <a:prstGeom prst="rect">
            <a:avLst/>
          </a:prstGeom>
        </p:spPr>
      </p:pic>
      <p:pic>
        <p:nvPicPr>
          <p:cNvPr id="21" name="Picture 20" descr="A blue and black race car&#10;&#10;Description automatically generated">
            <a:extLst>
              <a:ext uri="{FF2B5EF4-FFF2-40B4-BE49-F238E27FC236}">
                <a16:creationId xmlns:a16="http://schemas.microsoft.com/office/drawing/2014/main" id="{6E4C1CCE-4D48-1398-9235-2BE896A1A9E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87472" y="4473972"/>
            <a:ext cx="2989385" cy="197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10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28D04EA5-9323-93CC-95FE-745DC3A479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05DC6F12-E074-E13C-8125-2D4E80111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Obrázek 3" descr="Obsah obrázku osoba, přeprava, skupina, vozidlo&#10;&#10;Popis se vygeneroval automaticky.">
            <a:extLst>
              <a:ext uri="{FF2B5EF4-FFF2-40B4-BE49-F238E27FC236}">
                <a16:creationId xmlns:a16="http://schemas.microsoft.com/office/drawing/2014/main" id="{A3063D62-61C3-62E8-6883-8F93DF92EFF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5" r="-60" b="25075"/>
          <a:stretch/>
        </p:blipFill>
        <p:spPr>
          <a:xfrm>
            <a:off x="0" y="-918"/>
            <a:ext cx="12197516" cy="685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14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FAEEF6A2-4984-B90E-6722-40C9674B8C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3413" y="1700339"/>
            <a:ext cx="10931525" cy="2544286"/>
          </a:xfrm>
        </p:spPr>
        <p:txBody>
          <a:bodyPr lIns="91440" tIns="45720" rIns="91440" bIns="45720" anchor="t">
            <a:spAutoFit/>
          </a:bodyPr>
          <a:lstStyle/>
          <a:p>
            <a:r>
              <a:rPr lang="cs-CZ" dirty="0"/>
              <a:t>Zcela nový koncept vozu</a:t>
            </a:r>
          </a:p>
          <a:p>
            <a:r>
              <a:rPr lang="cs-CZ" dirty="0"/>
              <a:t>Funkce autonomního řízení</a:t>
            </a:r>
          </a:p>
          <a:p>
            <a:r>
              <a:rPr lang="cs-CZ" dirty="0" err="1">
                <a:latin typeface="Trebuchet MS"/>
              </a:rPr>
              <a:t>Powered</a:t>
            </a:r>
            <a:r>
              <a:rPr lang="cs-CZ" dirty="0">
                <a:latin typeface="Trebuchet MS"/>
              </a:rPr>
              <a:t> </a:t>
            </a:r>
            <a:r>
              <a:rPr lang="cs-CZ" dirty="0" err="1">
                <a:latin typeface="Trebuchet MS"/>
              </a:rPr>
              <a:t>ground</a:t>
            </a:r>
            <a:r>
              <a:rPr lang="cs-CZ" dirty="0">
                <a:latin typeface="Trebuchet MS"/>
              </a:rPr>
              <a:t> </a:t>
            </a:r>
            <a:r>
              <a:rPr lang="cs-CZ" dirty="0" err="1">
                <a:latin typeface="Trebuchet MS"/>
              </a:rPr>
              <a:t>effect</a:t>
            </a:r>
          </a:p>
          <a:p>
            <a:r>
              <a:rPr lang="cs-CZ" dirty="0"/>
              <a:t>Motor v každém kole</a:t>
            </a:r>
          </a:p>
          <a:p>
            <a:r>
              <a:rPr lang="cs-CZ" dirty="0">
                <a:latin typeface="Trebuchet MS"/>
              </a:rPr>
              <a:t>Vlastní návrh měničů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91D78F67-E15C-EE08-2E78-BEF595EBD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cs-CZ" dirty="0"/>
              <a:t>CTU.24</a:t>
            </a:r>
          </a:p>
        </p:txBody>
      </p:sp>
      <p:pic>
        <p:nvPicPr>
          <p:cNvPr id="5" name="Obrázek 4" descr="Obsah obrázku vozidlo, Autodíly, auto&#10;&#10;Popis se vygeneroval automaticky.">
            <a:extLst>
              <a:ext uri="{FF2B5EF4-FFF2-40B4-BE49-F238E27FC236}">
                <a16:creationId xmlns:a16="http://schemas.microsoft.com/office/drawing/2014/main" id="{31094C65-25D6-006D-BDBB-9AD947A032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7976" y="1699317"/>
            <a:ext cx="5714245" cy="3595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6140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4D1CFE-4C24-7F8D-B614-D119B03BF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3" name="Obrázek 2" descr="Obsah obrázku text, grafický design, Grafika, Značka&#10;&#10;Popis se vygeneroval automaticky.">
            <a:extLst>
              <a:ext uri="{FF2B5EF4-FFF2-40B4-BE49-F238E27FC236}">
                <a16:creationId xmlns:a16="http://schemas.microsoft.com/office/drawing/2014/main" id="{D3EA2FBC-8ED0-7236-2805-5D995CD4D9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610"/>
            <a:ext cx="12192000" cy="685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98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tIA2ztmYoArBLKBw3E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gMlgBsS42POVF4QZyy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gMlgBsS42POVF4QZyy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gMlgBsS42POVF4QZyytg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 tempalte_eForce" id="{1FC8CD47-8056-43F2-9949-423ADB02688A}" vid="{244B29EE-BEA8-41AF-BEEA-9CD58D02C45B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 tempalte_eForce" id="{1FC8CD47-8056-43F2-9949-423ADB02688A}" vid="{74B8657D-1598-41DF-8DA1-399776472926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 tempalte_eForce" id="{1FC8CD47-8056-43F2-9949-423ADB02688A}" vid="{48C6FE9C-29D0-4048-B4B2-C1764ACB1B4A}"/>
    </a:ext>
  </a:extLst>
</a:theme>
</file>

<file path=ppt/theme/theme4.xml><?xml version="1.0" encoding="utf-8"?>
<a:theme xmlns:a="http://schemas.openxmlformats.org/drawingml/2006/main" name="2_BCG 2.1.2">
  <a:themeElements>
    <a:clrScheme name="Stupně šedé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eForce">
      <a:majorFont>
        <a:latin typeface="BebasNeueRegular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  <a:ln w="12700">
          <a:noFill/>
        </a:ln>
      </a:spPr>
      <a:bodyPr rtlCol="0" anchor="t"/>
      <a:lstStyle>
        <a:defPPr algn="l">
          <a:lnSpc>
            <a:spcPct val="90000"/>
          </a:lnSpc>
          <a:spcAft>
            <a:spcPts val="1000"/>
          </a:spcAft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Presentation tempalte_eForce" id="{1FC8CD47-8056-43F2-9949-423ADB02688A}" vid="{196A7C31-9954-43D8-B898-78050278F49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</TotalTime>
  <Words>0</Words>
  <Application>Microsoft Office PowerPoint</Application>
  <PresentationFormat>Širokoúhlá obrazovka</PresentationFormat>
  <Paragraphs>0</Paragraphs>
  <Slides>7</Slides>
  <Notes>0</Notes>
  <HiddenSlides>0</HiddenSlides>
  <MMClips>0</MMClips>
  <ScaleCrop>false</ScaleCrop>
  <HeadingPairs>
    <vt:vector size="4" baseType="variant">
      <vt:variant>
        <vt:lpstr>Motiv</vt:lpstr>
      </vt:variant>
      <vt:variant>
        <vt:i4>4</vt:i4>
      </vt:variant>
      <vt:variant>
        <vt:lpstr>Nadpisy snímků</vt:lpstr>
      </vt:variant>
      <vt:variant>
        <vt:i4>7</vt:i4>
      </vt:variant>
    </vt:vector>
  </HeadingPairs>
  <TitlesOfParts>
    <vt:vector size="11" baseType="lpstr">
      <vt:lpstr>1_Office Theme</vt:lpstr>
      <vt:lpstr>2_Office Theme</vt:lpstr>
      <vt:lpstr>3_Office Theme</vt:lpstr>
      <vt:lpstr>2_BCG 2.1.2</vt:lpstr>
      <vt:lpstr>Prezentace aplikace PowerPoint</vt:lpstr>
      <vt:lpstr>O SOUTĚŽI</vt:lpstr>
      <vt:lpstr>ZÁVODY</vt:lpstr>
      <vt:lpstr>Prezentace aplikace PowerPoint</vt:lpstr>
      <vt:lpstr>Prezentace aplikace PowerPoint</vt:lpstr>
      <vt:lpstr>CTU.24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kub Kaplický</dc:creator>
  <cp:lastModifiedBy>Jakub Kaplický</cp:lastModifiedBy>
  <cp:revision>81</cp:revision>
  <dcterms:created xsi:type="dcterms:W3CDTF">2023-10-08T11:02:18Z</dcterms:created>
  <dcterms:modified xsi:type="dcterms:W3CDTF">2024-06-12T06:52:32Z</dcterms:modified>
</cp:coreProperties>
</file>